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4"/>
    <p:sldMasterId id="2147483718" r:id="rId5"/>
  </p:sldMasterIdLst>
  <p:notesMasterIdLst>
    <p:notesMasterId r:id="rId18"/>
  </p:notesMasterIdLst>
  <p:sldIdLst>
    <p:sldId id="270" r:id="rId6"/>
    <p:sldId id="259" r:id="rId7"/>
    <p:sldId id="269" r:id="rId8"/>
    <p:sldId id="260" r:id="rId9"/>
    <p:sldId id="261" r:id="rId10"/>
    <p:sldId id="262" r:id="rId11"/>
    <p:sldId id="268" r:id="rId12"/>
    <p:sldId id="263" r:id="rId13"/>
    <p:sldId id="264" r:id="rId14"/>
    <p:sldId id="265" r:id="rId15"/>
    <p:sldId id="266" r:id="rId16"/>
    <p:sldId id="267" r:id="rId17"/>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1E8709-8827-8BC5-3588-C0E850B1A299}" name="Sman, F.J.J.M. van der (Ferry)" initials="FS" userId="S::ferry.vandersman@rvo.nl::eed11cd3-17ce-49ca-ac9a-4457aba640d8" providerId="AD"/>
  <p188:author id="{C2839E80-12F5-DE7A-AE83-D1669C77AED1}" name="Maike van der Maat" initials="Mv" userId="S::maike@consultopmaat.nl::e0e3d7f5-72e8-4c48-83e0-51dde88db182" providerId="AD"/>
  <p188:author id="{4D2604E3-FDCC-AF48-C1D2-D1C03DB1FA97}" name="Broekman, Edwin" initials="BE" userId="Broekman, Edwi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4B781-D142-48EB-B572-472BA9EA14DC}" v="5" dt="2024-11-06T08:58:10.5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101" d="100"/>
          <a:sy n="101" d="100"/>
        </p:scale>
        <p:origin x="18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6751BF-D916-4D85-8C41-155D196BC2BD}" type="datetimeFigureOut">
              <a:rPr lang="nl-NL" smtClean="0"/>
              <a:t>11-11-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7EFF41-D5DE-4B1A-8A0D-AE28319EF4DA}" type="slidenum">
              <a:rPr lang="nl-NL" smtClean="0"/>
              <a:t>‹nr.›</a:t>
            </a:fld>
            <a:endParaRPr lang="nl-NL"/>
          </a:p>
        </p:txBody>
      </p:sp>
    </p:spTree>
    <p:extLst>
      <p:ext uri="{BB962C8B-B14F-4D97-AF65-F5344CB8AC3E}">
        <p14:creationId xmlns:p14="http://schemas.microsoft.com/office/powerpoint/2010/main" val="1609308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GLB-lintje">
    <p:spTree>
      <p:nvGrpSpPr>
        <p:cNvPr id="1" name=""/>
        <p:cNvGrpSpPr/>
        <p:nvPr/>
      </p:nvGrpSpPr>
      <p:grpSpPr>
        <a:xfrm>
          <a:off x="0" y="0"/>
          <a:ext cx="0" cy="0"/>
          <a:chOff x="0" y="0"/>
          <a:chExt cx="0" cy="0"/>
        </a:xfrm>
      </p:grpSpPr>
      <p:sp>
        <p:nvSpPr>
          <p:cNvPr id="11" name="Ondertitel 2"/>
          <p:cNvSpPr>
            <a:spLocks noGrp="1"/>
          </p:cNvSpPr>
          <p:nvPr>
            <p:ph type="subTitle" idx="1" hasCustomPrompt="1"/>
          </p:nvPr>
        </p:nvSpPr>
        <p:spPr>
          <a:xfrm>
            <a:off x="677864" y="2836278"/>
            <a:ext cx="8133628" cy="254726"/>
          </a:xfrm>
        </p:spPr>
        <p:txBody>
          <a:bodyPr lIns="0" tIns="0" rIns="0" bIns="0" anchor="b" anchorCtr="0">
            <a:noAutofit/>
          </a:bodyPr>
          <a:lstStyle>
            <a:lvl1pPr marL="0" indent="0" algn="l">
              <a:lnSpc>
                <a:spcPct val="85000"/>
              </a:lnSpc>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Type hier de ondertitel</a:t>
            </a:r>
          </a:p>
        </p:txBody>
      </p:sp>
      <p:sp>
        <p:nvSpPr>
          <p:cNvPr id="16" name="Titel 1"/>
          <p:cNvSpPr>
            <a:spLocks noGrp="1"/>
          </p:cNvSpPr>
          <p:nvPr>
            <p:ph type="title" hasCustomPrompt="1"/>
          </p:nvPr>
        </p:nvSpPr>
        <p:spPr>
          <a:xfrm>
            <a:off x="677863" y="1231858"/>
            <a:ext cx="8133628" cy="1513111"/>
          </a:xfrm>
        </p:spPr>
        <p:txBody>
          <a:bodyPr wrap="square" anchor="b" anchorCtr="0">
            <a:noAutofit/>
          </a:bodyPr>
          <a:lstStyle>
            <a:lvl1pPr algn="l">
              <a:lnSpc>
                <a:spcPct val="90000"/>
              </a:lnSpc>
              <a:defRPr sz="3200" b="1">
                <a:solidFill>
                  <a:schemeClr val="bg1"/>
                </a:solidFill>
              </a:defRPr>
            </a:lvl1pPr>
          </a:lstStyle>
          <a:p>
            <a:r>
              <a:rPr lang="nl-NL" dirty="0"/>
              <a:t>Type hier de titel</a:t>
            </a:r>
            <a:br>
              <a:rPr lang="nl-NL" dirty="0"/>
            </a:br>
            <a:r>
              <a:rPr lang="nl-NL" dirty="0"/>
              <a:t>over max drie regels</a:t>
            </a:r>
          </a:p>
        </p:txBody>
      </p:sp>
      <p:pic>
        <p:nvPicPr>
          <p:cNvPr id="17" name="RO logo Positief" hidden="1">
            <a:extLst>
              <a:ext uri="{FF2B5EF4-FFF2-40B4-BE49-F238E27FC236}">
                <a16:creationId xmlns:a16="http://schemas.microsoft.com/office/drawing/2014/main" id="{4A66B7EB-FF0D-1648-BE09-258ABCD565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7012" y="-1"/>
            <a:ext cx="4029075" cy="1594485"/>
          </a:xfrm>
          <a:prstGeom prst="rect">
            <a:avLst/>
          </a:prstGeom>
        </p:spPr>
      </p:pic>
      <p:grpSp>
        <p:nvGrpSpPr>
          <p:cNvPr id="7" name="Graphic 5">
            <a:extLst>
              <a:ext uri="{FF2B5EF4-FFF2-40B4-BE49-F238E27FC236}">
                <a16:creationId xmlns:a16="http://schemas.microsoft.com/office/drawing/2014/main" id="{A2EB6031-5309-437A-AADC-AF8E35B4F4F3}"/>
              </a:ext>
            </a:extLst>
          </p:cNvPr>
          <p:cNvGrpSpPr/>
          <p:nvPr/>
        </p:nvGrpSpPr>
        <p:grpSpPr>
          <a:xfrm>
            <a:off x="712275" y="3647083"/>
            <a:ext cx="10090141" cy="2552564"/>
            <a:chOff x="712275" y="3647083"/>
            <a:chExt cx="10090141" cy="2552564"/>
          </a:xfrm>
        </p:grpSpPr>
        <p:sp>
          <p:nvSpPr>
            <p:cNvPr id="8" name="Vrije vorm: vorm 7">
              <a:extLst>
                <a:ext uri="{FF2B5EF4-FFF2-40B4-BE49-F238E27FC236}">
                  <a16:creationId xmlns:a16="http://schemas.microsoft.com/office/drawing/2014/main" id="{5A1C7380-86B6-472B-8CE7-0F20FB4FE0A0}"/>
                </a:ext>
              </a:extLst>
            </p:cNvPr>
            <p:cNvSpPr/>
            <p:nvPr/>
          </p:nvSpPr>
          <p:spPr>
            <a:xfrm>
              <a:off x="712275" y="3647083"/>
              <a:ext cx="623662" cy="595121"/>
            </a:xfrm>
            <a:custGeom>
              <a:avLst/>
              <a:gdLst>
                <a:gd name="connsiteX0" fmla="*/ 16653 w 623662"/>
                <a:gd name="connsiteY0" fmla="*/ 16459 h 595121"/>
                <a:gd name="connsiteX1" fmla="*/ 93164 w 623662"/>
                <a:gd name="connsiteY1" fmla="*/ 16764 h 595121"/>
                <a:gd name="connsiteX2" fmla="*/ 108855 w 623662"/>
                <a:gd name="connsiteY2" fmla="*/ 54712 h 595121"/>
                <a:gd name="connsiteX3" fmla="*/ 651 w 623662"/>
                <a:gd name="connsiteY3" fmla="*/ 54712 h 595121"/>
                <a:gd name="connsiteX4" fmla="*/ 16653 w 623662"/>
                <a:gd name="connsiteY4" fmla="*/ 16459 h 595121"/>
                <a:gd name="connsiteX5" fmla="*/ 16653 w 623662"/>
                <a:gd name="connsiteY5" fmla="*/ 124663 h 595121"/>
                <a:gd name="connsiteX6" fmla="*/ 93164 w 623662"/>
                <a:gd name="connsiteY6" fmla="*/ 124968 h 595121"/>
                <a:gd name="connsiteX7" fmla="*/ 108855 w 623662"/>
                <a:gd name="connsiteY7" fmla="*/ 162916 h 595121"/>
                <a:gd name="connsiteX8" fmla="*/ 651 w 623662"/>
                <a:gd name="connsiteY8" fmla="*/ 162916 h 595121"/>
                <a:gd name="connsiteX9" fmla="*/ 16653 w 623662"/>
                <a:gd name="connsiteY9" fmla="*/ 124663 h 595121"/>
                <a:gd name="connsiteX10" fmla="*/ 16653 w 623662"/>
                <a:gd name="connsiteY10" fmla="*/ 232867 h 595121"/>
                <a:gd name="connsiteX11" fmla="*/ 93164 w 623662"/>
                <a:gd name="connsiteY11" fmla="*/ 233172 h 595121"/>
                <a:gd name="connsiteX12" fmla="*/ 108855 w 623662"/>
                <a:gd name="connsiteY12" fmla="*/ 271120 h 595121"/>
                <a:gd name="connsiteX13" fmla="*/ 651 w 623662"/>
                <a:gd name="connsiteY13" fmla="*/ 271120 h 595121"/>
                <a:gd name="connsiteX14" fmla="*/ 16653 w 623662"/>
                <a:gd name="connsiteY14" fmla="*/ 232867 h 595121"/>
                <a:gd name="connsiteX15" fmla="*/ 16653 w 623662"/>
                <a:gd name="connsiteY15" fmla="*/ 341071 h 595121"/>
                <a:gd name="connsiteX16" fmla="*/ 93164 w 623662"/>
                <a:gd name="connsiteY16" fmla="*/ 341376 h 595121"/>
                <a:gd name="connsiteX17" fmla="*/ 108855 w 623662"/>
                <a:gd name="connsiteY17" fmla="*/ 379324 h 595121"/>
                <a:gd name="connsiteX18" fmla="*/ 651 w 623662"/>
                <a:gd name="connsiteY18" fmla="*/ 379324 h 595121"/>
                <a:gd name="connsiteX19" fmla="*/ 16653 w 623662"/>
                <a:gd name="connsiteY19" fmla="*/ 341071 h 595121"/>
                <a:gd name="connsiteX20" fmla="*/ 54753 w 623662"/>
                <a:gd name="connsiteY20" fmla="*/ 433426 h 595121"/>
                <a:gd name="connsiteX21" fmla="*/ 75480 w 623662"/>
                <a:gd name="connsiteY21" fmla="*/ 437388 h 595121"/>
                <a:gd name="connsiteX22" fmla="*/ 93006 w 623662"/>
                <a:gd name="connsiteY22" fmla="*/ 449275 h 595121"/>
                <a:gd name="connsiteX23" fmla="*/ 104131 w 623662"/>
                <a:gd name="connsiteY23" fmla="*/ 466040 h 595121"/>
                <a:gd name="connsiteX24" fmla="*/ 108855 w 623662"/>
                <a:gd name="connsiteY24" fmla="*/ 487528 h 595121"/>
                <a:gd name="connsiteX25" fmla="*/ 651 w 623662"/>
                <a:gd name="connsiteY25" fmla="*/ 487528 h 595121"/>
                <a:gd name="connsiteX26" fmla="*/ 54753 w 623662"/>
                <a:gd name="connsiteY26" fmla="*/ 433426 h 595121"/>
                <a:gd name="connsiteX27" fmla="*/ 54753 w 623662"/>
                <a:gd name="connsiteY27" fmla="*/ 541630 h 595121"/>
                <a:gd name="connsiteX28" fmla="*/ 93006 w 623662"/>
                <a:gd name="connsiteY28" fmla="*/ 556870 h 595121"/>
                <a:gd name="connsiteX29" fmla="*/ 108246 w 623662"/>
                <a:gd name="connsiteY29" fmla="*/ 595122 h 595121"/>
                <a:gd name="connsiteX30" fmla="*/ 42 w 623662"/>
                <a:gd name="connsiteY30" fmla="*/ 595122 h 595121"/>
                <a:gd name="connsiteX31" fmla="*/ 15282 w 623662"/>
                <a:gd name="connsiteY31" fmla="*/ 556565 h 595121"/>
                <a:gd name="connsiteX32" fmla="*/ 54753 w 623662"/>
                <a:gd name="connsiteY32" fmla="*/ 541630 h 595121"/>
                <a:gd name="connsiteX33" fmla="*/ 183684 w 623662"/>
                <a:gd name="connsiteY33" fmla="*/ 610 h 595121"/>
                <a:gd name="connsiteX34" fmla="*/ 237786 w 623662"/>
                <a:gd name="connsiteY34" fmla="*/ 54712 h 595121"/>
                <a:gd name="connsiteX35" fmla="*/ 129582 w 623662"/>
                <a:gd name="connsiteY35" fmla="*/ 54712 h 595121"/>
                <a:gd name="connsiteX36" fmla="*/ 144822 w 623662"/>
                <a:gd name="connsiteY36" fmla="*/ 16459 h 595121"/>
                <a:gd name="connsiteX37" fmla="*/ 183684 w 623662"/>
                <a:gd name="connsiteY37" fmla="*/ 610 h 595121"/>
                <a:gd name="connsiteX38" fmla="*/ 183684 w 623662"/>
                <a:gd name="connsiteY38" fmla="*/ 108814 h 595121"/>
                <a:gd name="connsiteX39" fmla="*/ 237786 w 623662"/>
                <a:gd name="connsiteY39" fmla="*/ 162916 h 595121"/>
                <a:gd name="connsiteX40" fmla="*/ 129582 w 623662"/>
                <a:gd name="connsiteY40" fmla="*/ 162916 h 595121"/>
                <a:gd name="connsiteX41" fmla="*/ 144822 w 623662"/>
                <a:gd name="connsiteY41" fmla="*/ 124663 h 595121"/>
                <a:gd name="connsiteX42" fmla="*/ 183684 w 623662"/>
                <a:gd name="connsiteY42" fmla="*/ 108814 h 595121"/>
                <a:gd name="connsiteX43" fmla="*/ 183684 w 623662"/>
                <a:gd name="connsiteY43" fmla="*/ 217018 h 595121"/>
                <a:gd name="connsiteX44" fmla="*/ 237786 w 623662"/>
                <a:gd name="connsiteY44" fmla="*/ 271120 h 595121"/>
                <a:gd name="connsiteX45" fmla="*/ 129582 w 623662"/>
                <a:gd name="connsiteY45" fmla="*/ 271120 h 595121"/>
                <a:gd name="connsiteX46" fmla="*/ 144822 w 623662"/>
                <a:gd name="connsiteY46" fmla="*/ 232867 h 595121"/>
                <a:gd name="connsiteX47" fmla="*/ 183684 w 623662"/>
                <a:gd name="connsiteY47" fmla="*/ 217018 h 595121"/>
                <a:gd name="connsiteX48" fmla="*/ 183684 w 623662"/>
                <a:gd name="connsiteY48" fmla="*/ 325222 h 595121"/>
                <a:gd name="connsiteX49" fmla="*/ 237786 w 623662"/>
                <a:gd name="connsiteY49" fmla="*/ 379324 h 595121"/>
                <a:gd name="connsiteX50" fmla="*/ 129582 w 623662"/>
                <a:gd name="connsiteY50" fmla="*/ 379324 h 595121"/>
                <a:gd name="connsiteX51" fmla="*/ 144822 w 623662"/>
                <a:gd name="connsiteY51" fmla="*/ 341071 h 595121"/>
                <a:gd name="connsiteX52" fmla="*/ 183684 w 623662"/>
                <a:gd name="connsiteY52" fmla="*/ 325222 h 595121"/>
                <a:gd name="connsiteX53" fmla="*/ 183684 w 623662"/>
                <a:gd name="connsiteY53" fmla="*/ 433426 h 595121"/>
                <a:gd name="connsiteX54" fmla="*/ 204410 w 623662"/>
                <a:gd name="connsiteY54" fmla="*/ 437388 h 595121"/>
                <a:gd name="connsiteX55" fmla="*/ 221022 w 623662"/>
                <a:gd name="connsiteY55" fmla="*/ 449275 h 595121"/>
                <a:gd name="connsiteX56" fmla="*/ 233061 w 623662"/>
                <a:gd name="connsiteY56" fmla="*/ 466040 h 595121"/>
                <a:gd name="connsiteX57" fmla="*/ 237786 w 623662"/>
                <a:gd name="connsiteY57" fmla="*/ 487528 h 595121"/>
                <a:gd name="connsiteX58" fmla="*/ 129582 w 623662"/>
                <a:gd name="connsiteY58" fmla="*/ 487528 h 595121"/>
                <a:gd name="connsiteX59" fmla="*/ 144822 w 623662"/>
                <a:gd name="connsiteY59" fmla="*/ 449275 h 595121"/>
                <a:gd name="connsiteX60" fmla="*/ 183684 w 623662"/>
                <a:gd name="connsiteY60" fmla="*/ 433426 h 595121"/>
                <a:gd name="connsiteX61" fmla="*/ 183684 w 623662"/>
                <a:gd name="connsiteY61" fmla="*/ 541630 h 595121"/>
                <a:gd name="connsiteX62" fmla="*/ 221784 w 623662"/>
                <a:gd name="connsiteY62" fmla="*/ 556870 h 595121"/>
                <a:gd name="connsiteX63" fmla="*/ 237786 w 623662"/>
                <a:gd name="connsiteY63" fmla="*/ 595122 h 595121"/>
                <a:gd name="connsiteX64" fmla="*/ 129582 w 623662"/>
                <a:gd name="connsiteY64" fmla="*/ 595122 h 595121"/>
                <a:gd name="connsiteX65" fmla="*/ 181529 w 623662"/>
                <a:gd name="connsiteY65" fmla="*/ 541020 h 595121"/>
                <a:gd name="connsiteX66" fmla="*/ 183684 w 623662"/>
                <a:gd name="connsiteY66" fmla="*/ 541020 h 595121"/>
                <a:gd name="connsiteX67" fmla="*/ 273600 w 623662"/>
                <a:gd name="connsiteY67" fmla="*/ 16459 h 595121"/>
                <a:gd name="connsiteX68" fmla="*/ 350091 w 623662"/>
                <a:gd name="connsiteY68" fmla="*/ 18257 h 595121"/>
                <a:gd name="connsiteX69" fmla="*/ 365040 w 623662"/>
                <a:gd name="connsiteY69" fmla="*/ 54712 h 595121"/>
                <a:gd name="connsiteX70" fmla="*/ 256836 w 623662"/>
                <a:gd name="connsiteY70" fmla="*/ 54712 h 595121"/>
                <a:gd name="connsiteX71" fmla="*/ 273600 w 623662"/>
                <a:gd name="connsiteY71" fmla="*/ 16459 h 595121"/>
                <a:gd name="connsiteX72" fmla="*/ 273600 w 623662"/>
                <a:gd name="connsiteY72" fmla="*/ 124663 h 595121"/>
                <a:gd name="connsiteX73" fmla="*/ 350091 w 623662"/>
                <a:gd name="connsiteY73" fmla="*/ 126462 h 595121"/>
                <a:gd name="connsiteX74" fmla="*/ 365040 w 623662"/>
                <a:gd name="connsiteY74" fmla="*/ 162916 h 595121"/>
                <a:gd name="connsiteX75" fmla="*/ 256836 w 623662"/>
                <a:gd name="connsiteY75" fmla="*/ 162916 h 595121"/>
                <a:gd name="connsiteX76" fmla="*/ 273600 w 623662"/>
                <a:gd name="connsiteY76" fmla="*/ 124663 h 595121"/>
                <a:gd name="connsiteX77" fmla="*/ 273600 w 623662"/>
                <a:gd name="connsiteY77" fmla="*/ 232867 h 595121"/>
                <a:gd name="connsiteX78" fmla="*/ 350091 w 623662"/>
                <a:gd name="connsiteY78" fmla="*/ 234665 h 595121"/>
                <a:gd name="connsiteX79" fmla="*/ 365040 w 623662"/>
                <a:gd name="connsiteY79" fmla="*/ 271120 h 595121"/>
                <a:gd name="connsiteX80" fmla="*/ 256836 w 623662"/>
                <a:gd name="connsiteY80" fmla="*/ 271120 h 595121"/>
                <a:gd name="connsiteX81" fmla="*/ 273600 w 623662"/>
                <a:gd name="connsiteY81" fmla="*/ 232867 h 595121"/>
                <a:gd name="connsiteX82" fmla="*/ 273600 w 623662"/>
                <a:gd name="connsiteY82" fmla="*/ 341071 h 595121"/>
                <a:gd name="connsiteX83" fmla="*/ 350091 w 623662"/>
                <a:gd name="connsiteY83" fmla="*/ 342870 h 595121"/>
                <a:gd name="connsiteX84" fmla="*/ 365040 w 623662"/>
                <a:gd name="connsiteY84" fmla="*/ 379324 h 595121"/>
                <a:gd name="connsiteX85" fmla="*/ 256836 w 623662"/>
                <a:gd name="connsiteY85" fmla="*/ 379324 h 595121"/>
                <a:gd name="connsiteX86" fmla="*/ 273600 w 623662"/>
                <a:gd name="connsiteY86" fmla="*/ 341071 h 595121"/>
                <a:gd name="connsiteX87" fmla="*/ 311700 w 623662"/>
                <a:gd name="connsiteY87" fmla="*/ 433426 h 595121"/>
                <a:gd name="connsiteX88" fmla="*/ 332426 w 623662"/>
                <a:gd name="connsiteY88" fmla="*/ 437388 h 595121"/>
                <a:gd name="connsiteX89" fmla="*/ 349952 w 623662"/>
                <a:gd name="connsiteY89" fmla="*/ 449275 h 595121"/>
                <a:gd name="connsiteX90" fmla="*/ 361839 w 623662"/>
                <a:gd name="connsiteY90" fmla="*/ 466040 h 595121"/>
                <a:gd name="connsiteX91" fmla="*/ 365802 w 623662"/>
                <a:gd name="connsiteY91" fmla="*/ 487528 h 595121"/>
                <a:gd name="connsiteX92" fmla="*/ 257598 w 623662"/>
                <a:gd name="connsiteY92" fmla="*/ 487528 h 595121"/>
                <a:gd name="connsiteX93" fmla="*/ 311700 w 623662"/>
                <a:gd name="connsiteY93" fmla="*/ 433426 h 595121"/>
                <a:gd name="connsiteX94" fmla="*/ 311700 w 623662"/>
                <a:gd name="connsiteY94" fmla="*/ 541630 h 595121"/>
                <a:gd name="connsiteX95" fmla="*/ 349952 w 623662"/>
                <a:gd name="connsiteY95" fmla="*/ 556870 h 595121"/>
                <a:gd name="connsiteX96" fmla="*/ 365192 w 623662"/>
                <a:gd name="connsiteY96" fmla="*/ 592684 h 595121"/>
                <a:gd name="connsiteX97" fmla="*/ 365192 w 623662"/>
                <a:gd name="connsiteY97" fmla="*/ 595122 h 595121"/>
                <a:gd name="connsiteX98" fmla="*/ 256988 w 623662"/>
                <a:gd name="connsiteY98" fmla="*/ 595122 h 595121"/>
                <a:gd name="connsiteX99" fmla="*/ 272228 w 623662"/>
                <a:gd name="connsiteY99" fmla="*/ 556565 h 595121"/>
                <a:gd name="connsiteX100" fmla="*/ 311700 w 623662"/>
                <a:gd name="connsiteY100" fmla="*/ 541630 h 595121"/>
                <a:gd name="connsiteX101" fmla="*/ 439868 w 623662"/>
                <a:gd name="connsiteY101" fmla="*/ 610 h 595121"/>
                <a:gd name="connsiteX102" fmla="*/ 478883 w 623662"/>
                <a:gd name="connsiteY102" fmla="*/ 15850 h 595121"/>
                <a:gd name="connsiteX103" fmla="*/ 494123 w 623662"/>
                <a:gd name="connsiteY103" fmla="*/ 54102 h 595121"/>
                <a:gd name="connsiteX104" fmla="*/ 385918 w 623662"/>
                <a:gd name="connsiteY104" fmla="*/ 54102 h 595121"/>
                <a:gd name="connsiteX105" fmla="*/ 440021 w 623662"/>
                <a:gd name="connsiteY105" fmla="*/ 0 h 595121"/>
                <a:gd name="connsiteX106" fmla="*/ 439868 w 623662"/>
                <a:gd name="connsiteY106" fmla="*/ 108814 h 595121"/>
                <a:gd name="connsiteX107" fmla="*/ 478883 w 623662"/>
                <a:gd name="connsiteY107" fmla="*/ 124054 h 595121"/>
                <a:gd name="connsiteX108" fmla="*/ 494123 w 623662"/>
                <a:gd name="connsiteY108" fmla="*/ 162306 h 595121"/>
                <a:gd name="connsiteX109" fmla="*/ 385918 w 623662"/>
                <a:gd name="connsiteY109" fmla="*/ 162306 h 595121"/>
                <a:gd name="connsiteX110" fmla="*/ 440021 w 623662"/>
                <a:gd name="connsiteY110" fmla="*/ 108204 h 595121"/>
                <a:gd name="connsiteX111" fmla="*/ 439868 w 623662"/>
                <a:gd name="connsiteY111" fmla="*/ 217018 h 595121"/>
                <a:gd name="connsiteX112" fmla="*/ 478883 w 623662"/>
                <a:gd name="connsiteY112" fmla="*/ 232258 h 595121"/>
                <a:gd name="connsiteX113" fmla="*/ 494123 w 623662"/>
                <a:gd name="connsiteY113" fmla="*/ 270510 h 595121"/>
                <a:gd name="connsiteX114" fmla="*/ 385918 w 623662"/>
                <a:gd name="connsiteY114" fmla="*/ 270510 h 595121"/>
                <a:gd name="connsiteX115" fmla="*/ 440021 w 623662"/>
                <a:gd name="connsiteY115" fmla="*/ 216408 h 595121"/>
                <a:gd name="connsiteX116" fmla="*/ 439868 w 623662"/>
                <a:gd name="connsiteY116" fmla="*/ 325222 h 595121"/>
                <a:gd name="connsiteX117" fmla="*/ 478883 w 623662"/>
                <a:gd name="connsiteY117" fmla="*/ 340462 h 595121"/>
                <a:gd name="connsiteX118" fmla="*/ 494123 w 623662"/>
                <a:gd name="connsiteY118" fmla="*/ 378714 h 595121"/>
                <a:gd name="connsiteX119" fmla="*/ 385918 w 623662"/>
                <a:gd name="connsiteY119" fmla="*/ 378714 h 595121"/>
                <a:gd name="connsiteX120" fmla="*/ 440021 w 623662"/>
                <a:gd name="connsiteY120" fmla="*/ 324612 h 595121"/>
                <a:gd name="connsiteX121" fmla="*/ 439868 w 623662"/>
                <a:gd name="connsiteY121" fmla="*/ 433426 h 595121"/>
                <a:gd name="connsiteX122" fmla="*/ 461204 w 623662"/>
                <a:gd name="connsiteY122" fmla="*/ 437236 h 595121"/>
                <a:gd name="connsiteX123" fmla="*/ 477968 w 623662"/>
                <a:gd name="connsiteY123" fmla="*/ 449123 h 595121"/>
                <a:gd name="connsiteX124" fmla="*/ 489855 w 623662"/>
                <a:gd name="connsiteY124" fmla="*/ 465887 h 595121"/>
                <a:gd name="connsiteX125" fmla="*/ 493818 w 623662"/>
                <a:gd name="connsiteY125" fmla="*/ 487375 h 595121"/>
                <a:gd name="connsiteX126" fmla="*/ 385614 w 623662"/>
                <a:gd name="connsiteY126" fmla="*/ 487375 h 595121"/>
                <a:gd name="connsiteX127" fmla="*/ 439716 w 623662"/>
                <a:gd name="connsiteY127" fmla="*/ 433273 h 595121"/>
                <a:gd name="connsiteX128" fmla="*/ 439868 w 623662"/>
                <a:gd name="connsiteY128" fmla="*/ 541630 h 595121"/>
                <a:gd name="connsiteX129" fmla="*/ 478883 w 623662"/>
                <a:gd name="connsiteY129" fmla="*/ 556870 h 595121"/>
                <a:gd name="connsiteX130" fmla="*/ 494123 w 623662"/>
                <a:gd name="connsiteY130" fmla="*/ 595122 h 595121"/>
                <a:gd name="connsiteX131" fmla="*/ 385918 w 623662"/>
                <a:gd name="connsiteY131" fmla="*/ 595122 h 595121"/>
                <a:gd name="connsiteX132" fmla="*/ 401158 w 623662"/>
                <a:gd name="connsiteY132" fmla="*/ 556565 h 595121"/>
                <a:gd name="connsiteX133" fmla="*/ 439868 w 623662"/>
                <a:gd name="connsiteY133" fmla="*/ 541630 h 595121"/>
                <a:gd name="connsiteX134" fmla="*/ 531308 w 623662"/>
                <a:gd name="connsiteY134" fmla="*/ 16459 h 595121"/>
                <a:gd name="connsiteX135" fmla="*/ 608034 w 623662"/>
                <a:gd name="connsiteY135" fmla="*/ 16977 h 595121"/>
                <a:gd name="connsiteX136" fmla="*/ 623663 w 623662"/>
                <a:gd name="connsiteY136" fmla="*/ 54712 h 595121"/>
                <a:gd name="connsiteX137" fmla="*/ 515458 w 623662"/>
                <a:gd name="connsiteY137" fmla="*/ 54712 h 595121"/>
                <a:gd name="connsiteX138" fmla="*/ 530546 w 623662"/>
                <a:gd name="connsiteY138" fmla="*/ 16459 h 595121"/>
                <a:gd name="connsiteX139" fmla="*/ 531308 w 623662"/>
                <a:gd name="connsiteY139" fmla="*/ 124663 h 595121"/>
                <a:gd name="connsiteX140" fmla="*/ 608009 w 623662"/>
                <a:gd name="connsiteY140" fmla="*/ 126660 h 595121"/>
                <a:gd name="connsiteX141" fmla="*/ 622901 w 623662"/>
                <a:gd name="connsiteY141" fmla="*/ 162916 h 595121"/>
                <a:gd name="connsiteX142" fmla="*/ 514697 w 623662"/>
                <a:gd name="connsiteY142" fmla="*/ 162916 h 595121"/>
                <a:gd name="connsiteX143" fmla="*/ 530546 w 623662"/>
                <a:gd name="connsiteY143" fmla="*/ 124663 h 595121"/>
                <a:gd name="connsiteX144" fmla="*/ 569561 w 623662"/>
                <a:gd name="connsiteY144" fmla="*/ 217018 h 595121"/>
                <a:gd name="connsiteX145" fmla="*/ 623663 w 623662"/>
                <a:gd name="connsiteY145" fmla="*/ 271120 h 595121"/>
                <a:gd name="connsiteX146" fmla="*/ 515458 w 623662"/>
                <a:gd name="connsiteY146" fmla="*/ 271120 h 595121"/>
                <a:gd name="connsiteX147" fmla="*/ 522621 w 623662"/>
                <a:gd name="connsiteY147" fmla="*/ 243993 h 595121"/>
                <a:gd name="connsiteX148" fmla="*/ 542433 w 623662"/>
                <a:gd name="connsiteY148" fmla="*/ 224181 h 595121"/>
                <a:gd name="connsiteX149" fmla="*/ 568798 w 623662"/>
                <a:gd name="connsiteY149" fmla="*/ 217018 h 595121"/>
                <a:gd name="connsiteX150" fmla="*/ 531308 w 623662"/>
                <a:gd name="connsiteY150" fmla="*/ 341071 h 595121"/>
                <a:gd name="connsiteX151" fmla="*/ 608034 w 623662"/>
                <a:gd name="connsiteY151" fmla="*/ 341589 h 595121"/>
                <a:gd name="connsiteX152" fmla="*/ 623663 w 623662"/>
                <a:gd name="connsiteY152" fmla="*/ 379324 h 595121"/>
                <a:gd name="connsiteX153" fmla="*/ 515458 w 623662"/>
                <a:gd name="connsiteY153" fmla="*/ 379324 h 595121"/>
                <a:gd name="connsiteX154" fmla="*/ 530546 w 623662"/>
                <a:gd name="connsiteY154" fmla="*/ 341071 h 595121"/>
                <a:gd name="connsiteX155" fmla="*/ 569561 w 623662"/>
                <a:gd name="connsiteY155" fmla="*/ 433426 h 595121"/>
                <a:gd name="connsiteX156" fmla="*/ 590135 w 623662"/>
                <a:gd name="connsiteY156" fmla="*/ 437388 h 595121"/>
                <a:gd name="connsiteX157" fmla="*/ 607661 w 623662"/>
                <a:gd name="connsiteY157" fmla="*/ 449275 h 595121"/>
                <a:gd name="connsiteX158" fmla="*/ 618786 w 623662"/>
                <a:gd name="connsiteY158" fmla="*/ 466040 h 595121"/>
                <a:gd name="connsiteX159" fmla="*/ 623663 w 623662"/>
                <a:gd name="connsiteY159" fmla="*/ 487528 h 595121"/>
                <a:gd name="connsiteX160" fmla="*/ 515458 w 623662"/>
                <a:gd name="connsiteY160" fmla="*/ 487528 h 595121"/>
                <a:gd name="connsiteX161" fmla="*/ 522621 w 623662"/>
                <a:gd name="connsiteY161" fmla="*/ 459639 h 595121"/>
                <a:gd name="connsiteX162" fmla="*/ 542433 w 623662"/>
                <a:gd name="connsiteY162" fmla="*/ 440589 h 595121"/>
                <a:gd name="connsiteX163" fmla="*/ 568798 w 623662"/>
                <a:gd name="connsiteY163" fmla="*/ 433426 h 595121"/>
                <a:gd name="connsiteX164" fmla="*/ 569561 w 623662"/>
                <a:gd name="connsiteY164" fmla="*/ 541630 h 595121"/>
                <a:gd name="connsiteX165" fmla="*/ 607661 w 623662"/>
                <a:gd name="connsiteY165" fmla="*/ 556870 h 595121"/>
                <a:gd name="connsiteX166" fmla="*/ 622901 w 623662"/>
                <a:gd name="connsiteY166" fmla="*/ 595122 h 595121"/>
                <a:gd name="connsiteX167" fmla="*/ 514697 w 623662"/>
                <a:gd name="connsiteY167" fmla="*/ 595122 h 595121"/>
                <a:gd name="connsiteX168" fmla="*/ 529937 w 623662"/>
                <a:gd name="connsiteY168" fmla="*/ 556565 h 595121"/>
                <a:gd name="connsiteX169" fmla="*/ 568798 w 623662"/>
                <a:gd name="connsiteY169" fmla="*/ 541630 h 5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23662" h="595121">
                  <a:moveTo>
                    <a:pt x="16653" y="16459"/>
                  </a:moveTo>
                  <a:cubicBezTo>
                    <a:pt x="37867" y="-4587"/>
                    <a:pt x="72122" y="-4450"/>
                    <a:pt x="93164" y="16764"/>
                  </a:cubicBezTo>
                  <a:cubicBezTo>
                    <a:pt x="103177" y="26868"/>
                    <a:pt x="108814" y="40493"/>
                    <a:pt x="108855" y="54712"/>
                  </a:cubicBezTo>
                  <a:lnTo>
                    <a:pt x="651" y="54712"/>
                  </a:lnTo>
                  <a:cubicBezTo>
                    <a:pt x="447" y="40295"/>
                    <a:pt x="6243" y="26441"/>
                    <a:pt x="16653" y="16459"/>
                  </a:cubicBezTo>
                  <a:close/>
                  <a:moveTo>
                    <a:pt x="16653" y="124663"/>
                  </a:moveTo>
                  <a:cubicBezTo>
                    <a:pt x="37867" y="103617"/>
                    <a:pt x="72122" y="103754"/>
                    <a:pt x="93164" y="124968"/>
                  </a:cubicBezTo>
                  <a:cubicBezTo>
                    <a:pt x="103177" y="135072"/>
                    <a:pt x="108814" y="148697"/>
                    <a:pt x="108855" y="162916"/>
                  </a:cubicBezTo>
                  <a:lnTo>
                    <a:pt x="651" y="162916"/>
                  </a:lnTo>
                  <a:cubicBezTo>
                    <a:pt x="447" y="148499"/>
                    <a:pt x="6243" y="134646"/>
                    <a:pt x="16653" y="124663"/>
                  </a:cubicBezTo>
                  <a:close/>
                  <a:moveTo>
                    <a:pt x="16653" y="232867"/>
                  </a:moveTo>
                  <a:cubicBezTo>
                    <a:pt x="37867" y="211821"/>
                    <a:pt x="72122" y="211958"/>
                    <a:pt x="93164" y="233172"/>
                  </a:cubicBezTo>
                  <a:cubicBezTo>
                    <a:pt x="103177" y="243276"/>
                    <a:pt x="108814" y="256901"/>
                    <a:pt x="108855" y="271120"/>
                  </a:cubicBezTo>
                  <a:lnTo>
                    <a:pt x="651" y="271120"/>
                  </a:lnTo>
                  <a:cubicBezTo>
                    <a:pt x="447" y="256703"/>
                    <a:pt x="6243" y="242849"/>
                    <a:pt x="16653" y="232867"/>
                  </a:cubicBezTo>
                  <a:close/>
                  <a:moveTo>
                    <a:pt x="16653" y="341071"/>
                  </a:moveTo>
                  <a:cubicBezTo>
                    <a:pt x="37867" y="320025"/>
                    <a:pt x="72122" y="320162"/>
                    <a:pt x="93164" y="341376"/>
                  </a:cubicBezTo>
                  <a:cubicBezTo>
                    <a:pt x="103177" y="351480"/>
                    <a:pt x="108814" y="365105"/>
                    <a:pt x="108855" y="379324"/>
                  </a:cubicBezTo>
                  <a:lnTo>
                    <a:pt x="651" y="379324"/>
                  </a:lnTo>
                  <a:cubicBezTo>
                    <a:pt x="447" y="364907"/>
                    <a:pt x="6243" y="351054"/>
                    <a:pt x="16653" y="341071"/>
                  </a:cubicBezTo>
                  <a:close/>
                  <a:moveTo>
                    <a:pt x="54753" y="433426"/>
                  </a:moveTo>
                  <a:cubicBezTo>
                    <a:pt x="61869" y="433212"/>
                    <a:pt x="68946" y="434554"/>
                    <a:pt x="75480" y="437388"/>
                  </a:cubicBezTo>
                  <a:cubicBezTo>
                    <a:pt x="81948" y="440345"/>
                    <a:pt x="87871" y="444353"/>
                    <a:pt x="93006" y="449275"/>
                  </a:cubicBezTo>
                  <a:cubicBezTo>
                    <a:pt x="97657" y="454183"/>
                    <a:pt x="101421" y="459852"/>
                    <a:pt x="104131" y="466040"/>
                  </a:cubicBezTo>
                  <a:cubicBezTo>
                    <a:pt x="107278" y="472760"/>
                    <a:pt x="108890" y="480106"/>
                    <a:pt x="108855" y="487528"/>
                  </a:cubicBezTo>
                  <a:lnTo>
                    <a:pt x="651" y="487528"/>
                  </a:lnTo>
                  <a:cubicBezTo>
                    <a:pt x="817" y="457718"/>
                    <a:pt x="24942" y="433593"/>
                    <a:pt x="54753" y="433426"/>
                  </a:cubicBezTo>
                  <a:close/>
                  <a:moveTo>
                    <a:pt x="54753" y="541630"/>
                  </a:moveTo>
                  <a:cubicBezTo>
                    <a:pt x="69012" y="541493"/>
                    <a:pt x="82752" y="546964"/>
                    <a:pt x="93006" y="556870"/>
                  </a:cubicBezTo>
                  <a:cubicBezTo>
                    <a:pt x="103262" y="566898"/>
                    <a:pt x="108799" y="580797"/>
                    <a:pt x="108246" y="595122"/>
                  </a:cubicBezTo>
                  <a:lnTo>
                    <a:pt x="42" y="595122"/>
                  </a:lnTo>
                  <a:cubicBezTo>
                    <a:pt x="-540" y="580690"/>
                    <a:pt x="4993" y="566699"/>
                    <a:pt x="15282" y="556565"/>
                  </a:cubicBezTo>
                  <a:cubicBezTo>
                    <a:pt x="25765" y="546278"/>
                    <a:pt x="40085" y="540853"/>
                    <a:pt x="54753" y="541630"/>
                  </a:cubicBezTo>
                  <a:close/>
                  <a:moveTo>
                    <a:pt x="183684" y="610"/>
                  </a:moveTo>
                  <a:cubicBezTo>
                    <a:pt x="213495" y="777"/>
                    <a:pt x="237620" y="24902"/>
                    <a:pt x="237786" y="54712"/>
                  </a:cubicBezTo>
                  <a:lnTo>
                    <a:pt x="129582" y="54712"/>
                  </a:lnTo>
                  <a:cubicBezTo>
                    <a:pt x="129285" y="40432"/>
                    <a:pt x="134782" y="26624"/>
                    <a:pt x="144822" y="16459"/>
                  </a:cubicBezTo>
                  <a:cubicBezTo>
                    <a:pt x="154972" y="5944"/>
                    <a:pt x="169078" y="198"/>
                    <a:pt x="183684" y="610"/>
                  </a:cubicBezTo>
                  <a:close/>
                  <a:moveTo>
                    <a:pt x="183684" y="108814"/>
                  </a:moveTo>
                  <a:cubicBezTo>
                    <a:pt x="213495" y="108981"/>
                    <a:pt x="237620" y="133106"/>
                    <a:pt x="237786" y="162916"/>
                  </a:cubicBezTo>
                  <a:lnTo>
                    <a:pt x="129582" y="162916"/>
                  </a:lnTo>
                  <a:cubicBezTo>
                    <a:pt x="129285" y="148636"/>
                    <a:pt x="134782" y="134828"/>
                    <a:pt x="144822" y="124663"/>
                  </a:cubicBezTo>
                  <a:cubicBezTo>
                    <a:pt x="154972" y="114148"/>
                    <a:pt x="169078" y="108402"/>
                    <a:pt x="183684" y="108814"/>
                  </a:cubicBezTo>
                  <a:close/>
                  <a:moveTo>
                    <a:pt x="183684" y="217018"/>
                  </a:moveTo>
                  <a:cubicBezTo>
                    <a:pt x="213495" y="217185"/>
                    <a:pt x="237620" y="241310"/>
                    <a:pt x="237786" y="271120"/>
                  </a:cubicBezTo>
                  <a:lnTo>
                    <a:pt x="129582" y="271120"/>
                  </a:lnTo>
                  <a:cubicBezTo>
                    <a:pt x="129285" y="256840"/>
                    <a:pt x="134782" y="243032"/>
                    <a:pt x="144822" y="232867"/>
                  </a:cubicBezTo>
                  <a:cubicBezTo>
                    <a:pt x="154972" y="222352"/>
                    <a:pt x="169078" y="216606"/>
                    <a:pt x="183684" y="217018"/>
                  </a:cubicBezTo>
                  <a:close/>
                  <a:moveTo>
                    <a:pt x="183684" y="325222"/>
                  </a:moveTo>
                  <a:cubicBezTo>
                    <a:pt x="213495" y="325390"/>
                    <a:pt x="237620" y="349514"/>
                    <a:pt x="237786" y="379324"/>
                  </a:cubicBezTo>
                  <a:lnTo>
                    <a:pt x="129582" y="379324"/>
                  </a:lnTo>
                  <a:cubicBezTo>
                    <a:pt x="129285" y="365044"/>
                    <a:pt x="134782" y="351236"/>
                    <a:pt x="144822" y="341071"/>
                  </a:cubicBezTo>
                  <a:cubicBezTo>
                    <a:pt x="154972" y="330556"/>
                    <a:pt x="169078" y="324810"/>
                    <a:pt x="183684" y="325222"/>
                  </a:cubicBezTo>
                  <a:close/>
                  <a:moveTo>
                    <a:pt x="183684" y="433426"/>
                  </a:moveTo>
                  <a:cubicBezTo>
                    <a:pt x="190807" y="433106"/>
                    <a:pt x="197904" y="434462"/>
                    <a:pt x="204410" y="437388"/>
                  </a:cubicBezTo>
                  <a:cubicBezTo>
                    <a:pt x="210470" y="440558"/>
                    <a:pt x="216060" y="444566"/>
                    <a:pt x="221022" y="449275"/>
                  </a:cubicBezTo>
                  <a:cubicBezTo>
                    <a:pt x="226161" y="453969"/>
                    <a:pt x="230262" y="459669"/>
                    <a:pt x="233061" y="466040"/>
                  </a:cubicBezTo>
                  <a:cubicBezTo>
                    <a:pt x="236134" y="472791"/>
                    <a:pt x="237745" y="480106"/>
                    <a:pt x="237786" y="487528"/>
                  </a:cubicBezTo>
                  <a:lnTo>
                    <a:pt x="129582" y="487528"/>
                  </a:lnTo>
                  <a:cubicBezTo>
                    <a:pt x="129285" y="473248"/>
                    <a:pt x="134782" y="459440"/>
                    <a:pt x="144822" y="449275"/>
                  </a:cubicBezTo>
                  <a:cubicBezTo>
                    <a:pt x="154972" y="438760"/>
                    <a:pt x="169078" y="433014"/>
                    <a:pt x="183684" y="433426"/>
                  </a:cubicBezTo>
                  <a:close/>
                  <a:moveTo>
                    <a:pt x="183684" y="541630"/>
                  </a:moveTo>
                  <a:cubicBezTo>
                    <a:pt x="197895" y="541493"/>
                    <a:pt x="211587" y="546964"/>
                    <a:pt x="221784" y="556870"/>
                  </a:cubicBezTo>
                  <a:cubicBezTo>
                    <a:pt x="232354" y="566730"/>
                    <a:pt x="238180" y="580674"/>
                    <a:pt x="237786" y="595122"/>
                  </a:cubicBezTo>
                  <a:lnTo>
                    <a:pt x="129582" y="595122"/>
                  </a:lnTo>
                  <a:cubicBezTo>
                    <a:pt x="128986" y="565831"/>
                    <a:pt x="152244" y="541614"/>
                    <a:pt x="181529" y="541020"/>
                  </a:cubicBezTo>
                  <a:cubicBezTo>
                    <a:pt x="182247" y="541005"/>
                    <a:pt x="182966" y="541005"/>
                    <a:pt x="183684" y="541020"/>
                  </a:cubicBezTo>
                  <a:close/>
                  <a:moveTo>
                    <a:pt x="273600" y="16459"/>
                  </a:moveTo>
                  <a:cubicBezTo>
                    <a:pt x="295219" y="-4160"/>
                    <a:pt x="329465" y="-3353"/>
                    <a:pt x="350091" y="18257"/>
                  </a:cubicBezTo>
                  <a:cubicBezTo>
                    <a:pt x="359479" y="28103"/>
                    <a:pt x="364816" y="41117"/>
                    <a:pt x="365040" y="54712"/>
                  </a:cubicBezTo>
                  <a:lnTo>
                    <a:pt x="256836" y="54712"/>
                  </a:lnTo>
                  <a:cubicBezTo>
                    <a:pt x="256830" y="40173"/>
                    <a:pt x="262909" y="26304"/>
                    <a:pt x="273600" y="16459"/>
                  </a:cubicBezTo>
                  <a:close/>
                  <a:moveTo>
                    <a:pt x="273600" y="124663"/>
                  </a:moveTo>
                  <a:cubicBezTo>
                    <a:pt x="295219" y="104043"/>
                    <a:pt x="329465" y="104851"/>
                    <a:pt x="350091" y="126462"/>
                  </a:cubicBezTo>
                  <a:cubicBezTo>
                    <a:pt x="359479" y="136307"/>
                    <a:pt x="364816" y="149322"/>
                    <a:pt x="365040" y="162916"/>
                  </a:cubicBezTo>
                  <a:lnTo>
                    <a:pt x="256836" y="162916"/>
                  </a:lnTo>
                  <a:cubicBezTo>
                    <a:pt x="256830" y="148377"/>
                    <a:pt x="262909" y="134508"/>
                    <a:pt x="273600" y="124663"/>
                  </a:cubicBezTo>
                  <a:close/>
                  <a:moveTo>
                    <a:pt x="273600" y="232867"/>
                  </a:moveTo>
                  <a:cubicBezTo>
                    <a:pt x="295219" y="212248"/>
                    <a:pt x="329465" y="213055"/>
                    <a:pt x="350091" y="234665"/>
                  </a:cubicBezTo>
                  <a:cubicBezTo>
                    <a:pt x="359479" y="244511"/>
                    <a:pt x="364816" y="257526"/>
                    <a:pt x="365040" y="271120"/>
                  </a:cubicBezTo>
                  <a:lnTo>
                    <a:pt x="256836" y="271120"/>
                  </a:lnTo>
                  <a:cubicBezTo>
                    <a:pt x="256830" y="256581"/>
                    <a:pt x="262909" y="242712"/>
                    <a:pt x="273600" y="232867"/>
                  </a:cubicBezTo>
                  <a:close/>
                  <a:moveTo>
                    <a:pt x="273600" y="341071"/>
                  </a:moveTo>
                  <a:cubicBezTo>
                    <a:pt x="295219" y="320452"/>
                    <a:pt x="329465" y="321260"/>
                    <a:pt x="350091" y="342870"/>
                  </a:cubicBezTo>
                  <a:cubicBezTo>
                    <a:pt x="359479" y="352715"/>
                    <a:pt x="364816" y="365730"/>
                    <a:pt x="365040" y="379324"/>
                  </a:cubicBezTo>
                  <a:lnTo>
                    <a:pt x="256836" y="379324"/>
                  </a:lnTo>
                  <a:cubicBezTo>
                    <a:pt x="256830" y="364785"/>
                    <a:pt x="262909" y="350916"/>
                    <a:pt x="273600" y="341071"/>
                  </a:cubicBezTo>
                  <a:close/>
                  <a:moveTo>
                    <a:pt x="311700" y="433426"/>
                  </a:moveTo>
                  <a:cubicBezTo>
                    <a:pt x="318817" y="433182"/>
                    <a:pt x="325899" y="434538"/>
                    <a:pt x="332426" y="437388"/>
                  </a:cubicBezTo>
                  <a:cubicBezTo>
                    <a:pt x="338917" y="440299"/>
                    <a:pt x="344848" y="444322"/>
                    <a:pt x="349952" y="449275"/>
                  </a:cubicBezTo>
                  <a:cubicBezTo>
                    <a:pt x="354962" y="454045"/>
                    <a:pt x="358997" y="459730"/>
                    <a:pt x="361839" y="466040"/>
                  </a:cubicBezTo>
                  <a:cubicBezTo>
                    <a:pt x="364529" y="472882"/>
                    <a:pt x="365875" y="480182"/>
                    <a:pt x="365802" y="487528"/>
                  </a:cubicBezTo>
                  <a:lnTo>
                    <a:pt x="257598" y="487528"/>
                  </a:lnTo>
                  <a:cubicBezTo>
                    <a:pt x="257764" y="457718"/>
                    <a:pt x="281889" y="433593"/>
                    <a:pt x="311700" y="433426"/>
                  </a:cubicBezTo>
                  <a:close/>
                  <a:moveTo>
                    <a:pt x="311700" y="541630"/>
                  </a:moveTo>
                  <a:cubicBezTo>
                    <a:pt x="325919" y="541691"/>
                    <a:pt x="339587" y="547131"/>
                    <a:pt x="349952" y="556870"/>
                  </a:cubicBezTo>
                  <a:cubicBezTo>
                    <a:pt x="360114" y="565938"/>
                    <a:pt x="365701" y="579075"/>
                    <a:pt x="365192" y="592684"/>
                  </a:cubicBezTo>
                  <a:lnTo>
                    <a:pt x="365192" y="595122"/>
                  </a:lnTo>
                  <a:lnTo>
                    <a:pt x="256988" y="595122"/>
                  </a:lnTo>
                  <a:cubicBezTo>
                    <a:pt x="256406" y="580690"/>
                    <a:pt x="261940" y="566699"/>
                    <a:pt x="272228" y="556565"/>
                  </a:cubicBezTo>
                  <a:cubicBezTo>
                    <a:pt x="282712" y="546278"/>
                    <a:pt x="297031" y="540853"/>
                    <a:pt x="311700" y="541630"/>
                  </a:cubicBezTo>
                  <a:close/>
                  <a:moveTo>
                    <a:pt x="439868" y="610"/>
                  </a:moveTo>
                  <a:cubicBezTo>
                    <a:pt x="454438" y="-30"/>
                    <a:pt x="468602" y="5502"/>
                    <a:pt x="478883" y="15850"/>
                  </a:cubicBezTo>
                  <a:cubicBezTo>
                    <a:pt x="488848" y="26061"/>
                    <a:pt x="494333" y="39837"/>
                    <a:pt x="494123" y="54102"/>
                  </a:cubicBezTo>
                  <a:lnTo>
                    <a:pt x="385918" y="54102"/>
                  </a:lnTo>
                  <a:cubicBezTo>
                    <a:pt x="385918" y="24216"/>
                    <a:pt x="410141" y="0"/>
                    <a:pt x="440021" y="0"/>
                  </a:cubicBezTo>
                  <a:close/>
                  <a:moveTo>
                    <a:pt x="439868" y="108814"/>
                  </a:moveTo>
                  <a:cubicBezTo>
                    <a:pt x="454438" y="108174"/>
                    <a:pt x="468602" y="113706"/>
                    <a:pt x="478883" y="124054"/>
                  </a:cubicBezTo>
                  <a:cubicBezTo>
                    <a:pt x="488848" y="134264"/>
                    <a:pt x="494333" y="148041"/>
                    <a:pt x="494123" y="162306"/>
                  </a:cubicBezTo>
                  <a:lnTo>
                    <a:pt x="385918" y="162306"/>
                  </a:lnTo>
                  <a:cubicBezTo>
                    <a:pt x="385918" y="132420"/>
                    <a:pt x="410141" y="108204"/>
                    <a:pt x="440021" y="108204"/>
                  </a:cubicBezTo>
                  <a:close/>
                  <a:moveTo>
                    <a:pt x="439868" y="217018"/>
                  </a:moveTo>
                  <a:cubicBezTo>
                    <a:pt x="454438" y="216378"/>
                    <a:pt x="468602" y="221910"/>
                    <a:pt x="478883" y="232258"/>
                  </a:cubicBezTo>
                  <a:cubicBezTo>
                    <a:pt x="488848" y="242468"/>
                    <a:pt x="494333" y="256245"/>
                    <a:pt x="494123" y="270510"/>
                  </a:cubicBezTo>
                  <a:lnTo>
                    <a:pt x="385918" y="270510"/>
                  </a:lnTo>
                  <a:cubicBezTo>
                    <a:pt x="385918" y="240624"/>
                    <a:pt x="410141" y="216408"/>
                    <a:pt x="440021" y="216408"/>
                  </a:cubicBezTo>
                  <a:close/>
                  <a:moveTo>
                    <a:pt x="439868" y="325222"/>
                  </a:moveTo>
                  <a:cubicBezTo>
                    <a:pt x="454438" y="324582"/>
                    <a:pt x="468602" y="330114"/>
                    <a:pt x="478883" y="340462"/>
                  </a:cubicBezTo>
                  <a:cubicBezTo>
                    <a:pt x="488848" y="350673"/>
                    <a:pt x="494333" y="364449"/>
                    <a:pt x="494123" y="378714"/>
                  </a:cubicBezTo>
                  <a:lnTo>
                    <a:pt x="385918" y="378714"/>
                  </a:lnTo>
                  <a:cubicBezTo>
                    <a:pt x="385918" y="348829"/>
                    <a:pt x="410141" y="324612"/>
                    <a:pt x="440021" y="324612"/>
                  </a:cubicBezTo>
                  <a:close/>
                  <a:moveTo>
                    <a:pt x="439868" y="433426"/>
                  </a:moveTo>
                  <a:cubicBezTo>
                    <a:pt x="447179" y="433029"/>
                    <a:pt x="454482" y="434340"/>
                    <a:pt x="461204" y="437236"/>
                  </a:cubicBezTo>
                  <a:cubicBezTo>
                    <a:pt x="467314" y="440406"/>
                    <a:pt x="472954" y="444414"/>
                    <a:pt x="477968" y="449123"/>
                  </a:cubicBezTo>
                  <a:cubicBezTo>
                    <a:pt x="483206" y="453695"/>
                    <a:pt x="487281" y="459440"/>
                    <a:pt x="489855" y="465887"/>
                  </a:cubicBezTo>
                  <a:cubicBezTo>
                    <a:pt x="492460" y="472760"/>
                    <a:pt x="493802" y="480030"/>
                    <a:pt x="493818" y="487375"/>
                  </a:cubicBezTo>
                  <a:lnTo>
                    <a:pt x="385614" y="487375"/>
                  </a:lnTo>
                  <a:cubicBezTo>
                    <a:pt x="385614" y="457490"/>
                    <a:pt x="409836" y="433273"/>
                    <a:pt x="439716" y="433273"/>
                  </a:cubicBezTo>
                  <a:close/>
                  <a:moveTo>
                    <a:pt x="439868" y="541630"/>
                  </a:moveTo>
                  <a:cubicBezTo>
                    <a:pt x="454404" y="541203"/>
                    <a:pt x="468490" y="546705"/>
                    <a:pt x="478883" y="556870"/>
                  </a:cubicBezTo>
                  <a:cubicBezTo>
                    <a:pt x="489013" y="566974"/>
                    <a:pt x="494526" y="580812"/>
                    <a:pt x="494123" y="595122"/>
                  </a:cubicBezTo>
                  <a:lnTo>
                    <a:pt x="385918" y="595122"/>
                  </a:lnTo>
                  <a:cubicBezTo>
                    <a:pt x="385393" y="580705"/>
                    <a:pt x="390919" y="566730"/>
                    <a:pt x="401158" y="556565"/>
                  </a:cubicBezTo>
                  <a:cubicBezTo>
                    <a:pt x="411488" y="546522"/>
                    <a:pt x="425469" y="541127"/>
                    <a:pt x="439868" y="541630"/>
                  </a:cubicBezTo>
                  <a:close/>
                  <a:moveTo>
                    <a:pt x="531308" y="16459"/>
                  </a:moveTo>
                  <a:cubicBezTo>
                    <a:pt x="552640" y="-4587"/>
                    <a:pt x="586991" y="-4343"/>
                    <a:pt x="608034" y="16977"/>
                  </a:cubicBezTo>
                  <a:cubicBezTo>
                    <a:pt x="617958" y="27036"/>
                    <a:pt x="623565" y="40584"/>
                    <a:pt x="623663" y="54712"/>
                  </a:cubicBezTo>
                  <a:lnTo>
                    <a:pt x="515458" y="54712"/>
                  </a:lnTo>
                  <a:cubicBezTo>
                    <a:pt x="515015" y="40432"/>
                    <a:pt x="520471" y="26594"/>
                    <a:pt x="530546" y="16459"/>
                  </a:cubicBezTo>
                  <a:close/>
                  <a:moveTo>
                    <a:pt x="531308" y="124663"/>
                  </a:moveTo>
                  <a:cubicBezTo>
                    <a:pt x="553042" y="104043"/>
                    <a:pt x="587382" y="104928"/>
                    <a:pt x="608009" y="126660"/>
                  </a:cubicBezTo>
                  <a:cubicBezTo>
                    <a:pt x="617317" y="136474"/>
                    <a:pt x="622626" y="149398"/>
                    <a:pt x="622901" y="162916"/>
                  </a:cubicBezTo>
                  <a:lnTo>
                    <a:pt x="514697" y="162916"/>
                  </a:lnTo>
                  <a:cubicBezTo>
                    <a:pt x="514453" y="148514"/>
                    <a:pt x="520192" y="134661"/>
                    <a:pt x="530546" y="124663"/>
                  </a:cubicBezTo>
                  <a:close/>
                  <a:moveTo>
                    <a:pt x="569561" y="217018"/>
                  </a:moveTo>
                  <a:cubicBezTo>
                    <a:pt x="599371" y="217185"/>
                    <a:pt x="623496" y="241310"/>
                    <a:pt x="623663" y="271120"/>
                  </a:cubicBezTo>
                  <a:lnTo>
                    <a:pt x="515458" y="271120"/>
                  </a:lnTo>
                  <a:cubicBezTo>
                    <a:pt x="515274" y="261579"/>
                    <a:pt x="517755" y="252192"/>
                    <a:pt x="522621" y="243993"/>
                  </a:cubicBezTo>
                  <a:cubicBezTo>
                    <a:pt x="527228" y="235656"/>
                    <a:pt x="534095" y="228783"/>
                    <a:pt x="542433" y="224181"/>
                  </a:cubicBezTo>
                  <a:cubicBezTo>
                    <a:pt x="550482" y="219624"/>
                    <a:pt x="559548" y="217155"/>
                    <a:pt x="568798" y="217018"/>
                  </a:cubicBezTo>
                  <a:close/>
                  <a:moveTo>
                    <a:pt x="531308" y="341071"/>
                  </a:moveTo>
                  <a:cubicBezTo>
                    <a:pt x="552640" y="320025"/>
                    <a:pt x="586991" y="320269"/>
                    <a:pt x="608034" y="341589"/>
                  </a:cubicBezTo>
                  <a:cubicBezTo>
                    <a:pt x="617958" y="351648"/>
                    <a:pt x="623565" y="365196"/>
                    <a:pt x="623663" y="379324"/>
                  </a:cubicBezTo>
                  <a:lnTo>
                    <a:pt x="515458" y="379324"/>
                  </a:lnTo>
                  <a:cubicBezTo>
                    <a:pt x="515015" y="365044"/>
                    <a:pt x="520471" y="351206"/>
                    <a:pt x="530546" y="341071"/>
                  </a:cubicBezTo>
                  <a:close/>
                  <a:moveTo>
                    <a:pt x="569561" y="433426"/>
                  </a:moveTo>
                  <a:cubicBezTo>
                    <a:pt x="576627" y="433212"/>
                    <a:pt x="583654" y="434554"/>
                    <a:pt x="590135" y="437388"/>
                  </a:cubicBezTo>
                  <a:cubicBezTo>
                    <a:pt x="596644" y="440269"/>
                    <a:pt x="602581" y="444292"/>
                    <a:pt x="607661" y="449275"/>
                  </a:cubicBezTo>
                  <a:cubicBezTo>
                    <a:pt x="612312" y="454183"/>
                    <a:pt x="616076" y="459852"/>
                    <a:pt x="618786" y="466040"/>
                  </a:cubicBezTo>
                  <a:cubicBezTo>
                    <a:pt x="621980" y="472760"/>
                    <a:pt x="623646" y="480091"/>
                    <a:pt x="623663" y="487528"/>
                  </a:cubicBezTo>
                  <a:lnTo>
                    <a:pt x="515458" y="487528"/>
                  </a:lnTo>
                  <a:cubicBezTo>
                    <a:pt x="515335" y="477759"/>
                    <a:pt x="517807" y="468143"/>
                    <a:pt x="522621" y="459639"/>
                  </a:cubicBezTo>
                  <a:cubicBezTo>
                    <a:pt x="527390" y="451622"/>
                    <a:pt x="534234" y="445038"/>
                    <a:pt x="542433" y="440589"/>
                  </a:cubicBezTo>
                  <a:cubicBezTo>
                    <a:pt x="550454" y="435955"/>
                    <a:pt x="559539" y="433487"/>
                    <a:pt x="568798" y="433426"/>
                  </a:cubicBezTo>
                  <a:close/>
                  <a:moveTo>
                    <a:pt x="569561" y="541630"/>
                  </a:moveTo>
                  <a:cubicBezTo>
                    <a:pt x="583772" y="541493"/>
                    <a:pt x="597463" y="546964"/>
                    <a:pt x="607661" y="556870"/>
                  </a:cubicBezTo>
                  <a:cubicBezTo>
                    <a:pt x="617951" y="566867"/>
                    <a:pt x="623493" y="580781"/>
                    <a:pt x="622901" y="595122"/>
                  </a:cubicBezTo>
                  <a:lnTo>
                    <a:pt x="514697" y="595122"/>
                  </a:lnTo>
                  <a:cubicBezTo>
                    <a:pt x="514114" y="580690"/>
                    <a:pt x="519648" y="566699"/>
                    <a:pt x="529937" y="556565"/>
                  </a:cubicBezTo>
                  <a:cubicBezTo>
                    <a:pt x="540304" y="546476"/>
                    <a:pt x="554348" y="541081"/>
                    <a:pt x="568798" y="541630"/>
                  </a:cubicBezTo>
                  <a:close/>
                </a:path>
              </a:pathLst>
            </a:custGeom>
            <a:solidFill>
              <a:schemeClr val="accent5"/>
            </a:solidFill>
            <a:ln w="15240" cap="flat">
              <a:noFill/>
              <a:prstDash val="solid"/>
              <a:miter/>
            </a:ln>
          </p:spPr>
          <p:txBody>
            <a:bodyPr rtlCol="0" anchor="ctr"/>
            <a:lstStyle/>
            <a:p>
              <a:endParaRPr lang="nl-NL"/>
            </a:p>
          </p:txBody>
        </p:sp>
        <p:sp>
          <p:nvSpPr>
            <p:cNvPr id="9" name="Vrije vorm: vorm 8">
              <a:extLst>
                <a:ext uri="{FF2B5EF4-FFF2-40B4-BE49-F238E27FC236}">
                  <a16:creationId xmlns:a16="http://schemas.microsoft.com/office/drawing/2014/main" id="{113EA4E5-C11F-48DE-9CEF-BFACA494581B}"/>
                </a:ext>
              </a:extLst>
            </p:cNvPr>
            <p:cNvSpPr/>
            <p:nvPr/>
          </p:nvSpPr>
          <p:spPr>
            <a:xfrm>
              <a:off x="1390650" y="3647693"/>
              <a:ext cx="621030" cy="594511"/>
            </a:xfrm>
            <a:custGeom>
              <a:avLst/>
              <a:gdLst>
                <a:gd name="connsiteX0" fmla="*/ 571348 w 621030"/>
                <a:gd name="connsiteY0" fmla="*/ 0 h 620572"/>
                <a:gd name="connsiteX1" fmla="*/ 621030 w 621030"/>
                <a:gd name="connsiteY1" fmla="*/ 0 h 620572"/>
                <a:gd name="connsiteX2" fmla="*/ 621030 w 621030"/>
                <a:gd name="connsiteY2" fmla="*/ 26975 h 620572"/>
                <a:gd name="connsiteX3" fmla="*/ 26670 w 621030"/>
                <a:gd name="connsiteY3" fmla="*/ 620573 h 620572"/>
                <a:gd name="connsiteX4" fmla="*/ 152 w 621030"/>
                <a:gd name="connsiteY4" fmla="*/ 620573 h 620572"/>
                <a:gd name="connsiteX5" fmla="*/ 152 w 621030"/>
                <a:gd name="connsiteY5" fmla="*/ 571195 h 620572"/>
                <a:gd name="connsiteX6" fmla="*/ 152 w 621030"/>
                <a:gd name="connsiteY6" fmla="*/ 427939 h 620572"/>
                <a:gd name="connsiteX7" fmla="*/ 428244 w 621030"/>
                <a:gd name="connsiteY7" fmla="*/ 0 h 620572"/>
                <a:gd name="connsiteX8" fmla="*/ 504444 w 621030"/>
                <a:gd name="connsiteY8" fmla="*/ 0 h 620572"/>
                <a:gd name="connsiteX9" fmla="*/ 0 w 621030"/>
                <a:gd name="connsiteY9" fmla="*/ 504444 h 620572"/>
                <a:gd name="connsiteX10" fmla="*/ 152 w 621030"/>
                <a:gd name="connsiteY10" fmla="*/ 284836 h 620572"/>
                <a:gd name="connsiteX11" fmla="*/ 285750 w 621030"/>
                <a:gd name="connsiteY11" fmla="*/ 0 h 620572"/>
                <a:gd name="connsiteX12" fmla="*/ 361950 w 621030"/>
                <a:gd name="connsiteY12" fmla="*/ 0 h 620572"/>
                <a:gd name="connsiteX13" fmla="*/ 762 w 621030"/>
                <a:gd name="connsiteY13" fmla="*/ 361188 h 620572"/>
                <a:gd name="connsiteX14" fmla="*/ 152 w 621030"/>
                <a:gd name="connsiteY14" fmla="*/ 142342 h 620572"/>
                <a:gd name="connsiteX15" fmla="*/ 142646 w 621030"/>
                <a:gd name="connsiteY15" fmla="*/ 0 h 620572"/>
                <a:gd name="connsiteX16" fmla="*/ 218846 w 621030"/>
                <a:gd name="connsiteY16" fmla="*/ 0 h 620572"/>
                <a:gd name="connsiteX17" fmla="*/ 152 w 621030"/>
                <a:gd name="connsiteY17" fmla="*/ 218846 h 620572"/>
                <a:gd name="connsiteX18" fmla="*/ 152 w 621030"/>
                <a:gd name="connsiteY18" fmla="*/ 0 h 620572"/>
                <a:gd name="connsiteX19" fmla="*/ 76352 w 621030"/>
                <a:gd name="connsiteY19" fmla="*/ 0 h 620572"/>
                <a:gd name="connsiteX20" fmla="*/ 152 w 621030"/>
                <a:gd name="connsiteY20" fmla="*/ 76200 h 620572"/>
                <a:gd name="connsiteX21" fmla="*/ 94031 w 621030"/>
                <a:gd name="connsiteY21" fmla="*/ 620573 h 620572"/>
                <a:gd name="connsiteX22" fmla="*/ 621030 w 621030"/>
                <a:gd name="connsiteY22" fmla="*/ 93878 h 620572"/>
                <a:gd name="connsiteX23" fmla="*/ 621030 w 621030"/>
                <a:gd name="connsiteY23" fmla="*/ 170078 h 620572"/>
                <a:gd name="connsiteX24" fmla="*/ 170688 w 621030"/>
                <a:gd name="connsiteY24" fmla="*/ 620420 h 620572"/>
                <a:gd name="connsiteX25" fmla="*/ 236525 w 621030"/>
                <a:gd name="connsiteY25" fmla="*/ 620573 h 620572"/>
                <a:gd name="connsiteX26" fmla="*/ 621030 w 621030"/>
                <a:gd name="connsiteY26" fmla="*/ 236220 h 620572"/>
                <a:gd name="connsiteX27" fmla="*/ 621030 w 621030"/>
                <a:gd name="connsiteY27" fmla="*/ 312420 h 620572"/>
                <a:gd name="connsiteX28" fmla="*/ 313944 w 621030"/>
                <a:gd name="connsiteY28" fmla="*/ 620268 h 620572"/>
                <a:gd name="connsiteX29" fmla="*/ 379628 w 621030"/>
                <a:gd name="connsiteY29" fmla="*/ 620573 h 620572"/>
                <a:gd name="connsiteX30" fmla="*/ 621030 w 621030"/>
                <a:gd name="connsiteY30" fmla="*/ 379476 h 620572"/>
                <a:gd name="connsiteX31" fmla="*/ 621030 w 621030"/>
                <a:gd name="connsiteY31" fmla="*/ 455676 h 620572"/>
                <a:gd name="connsiteX32" fmla="*/ 456286 w 621030"/>
                <a:gd name="connsiteY32" fmla="*/ 620420 h 620572"/>
                <a:gd name="connsiteX33" fmla="*/ 595274 w 621030"/>
                <a:gd name="connsiteY33" fmla="*/ 620573 h 620572"/>
                <a:gd name="connsiteX34" fmla="*/ 519074 w 621030"/>
                <a:gd name="connsiteY34" fmla="*/ 620573 h 620572"/>
                <a:gd name="connsiteX35" fmla="*/ 620878 w 621030"/>
                <a:gd name="connsiteY35" fmla="*/ 518770 h 620572"/>
                <a:gd name="connsiteX36" fmla="*/ 620878 w 621030"/>
                <a:gd name="connsiteY36" fmla="*/ 594970 h 62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1030" h="620572">
                  <a:moveTo>
                    <a:pt x="571348" y="0"/>
                  </a:moveTo>
                  <a:lnTo>
                    <a:pt x="621030" y="0"/>
                  </a:lnTo>
                  <a:lnTo>
                    <a:pt x="621030" y="26975"/>
                  </a:lnTo>
                  <a:lnTo>
                    <a:pt x="26670" y="620573"/>
                  </a:lnTo>
                  <a:lnTo>
                    <a:pt x="152" y="620573"/>
                  </a:lnTo>
                  <a:lnTo>
                    <a:pt x="152" y="571195"/>
                  </a:lnTo>
                  <a:close/>
                  <a:moveTo>
                    <a:pt x="152" y="427939"/>
                  </a:moveTo>
                  <a:lnTo>
                    <a:pt x="428244" y="0"/>
                  </a:lnTo>
                  <a:lnTo>
                    <a:pt x="504444" y="0"/>
                  </a:lnTo>
                  <a:lnTo>
                    <a:pt x="0" y="504444"/>
                  </a:lnTo>
                  <a:close/>
                  <a:moveTo>
                    <a:pt x="152" y="284836"/>
                  </a:moveTo>
                  <a:lnTo>
                    <a:pt x="285750" y="0"/>
                  </a:lnTo>
                  <a:lnTo>
                    <a:pt x="361950" y="0"/>
                  </a:lnTo>
                  <a:lnTo>
                    <a:pt x="762" y="361188"/>
                  </a:lnTo>
                  <a:close/>
                  <a:moveTo>
                    <a:pt x="152" y="142342"/>
                  </a:moveTo>
                  <a:lnTo>
                    <a:pt x="142646" y="0"/>
                  </a:lnTo>
                  <a:lnTo>
                    <a:pt x="218846" y="0"/>
                  </a:lnTo>
                  <a:lnTo>
                    <a:pt x="152" y="218846"/>
                  </a:lnTo>
                  <a:close/>
                  <a:moveTo>
                    <a:pt x="152" y="0"/>
                  </a:moveTo>
                  <a:lnTo>
                    <a:pt x="76352" y="0"/>
                  </a:lnTo>
                  <a:lnTo>
                    <a:pt x="152" y="76200"/>
                  </a:lnTo>
                  <a:close/>
                  <a:moveTo>
                    <a:pt x="94031" y="620573"/>
                  </a:moveTo>
                  <a:lnTo>
                    <a:pt x="621030" y="93878"/>
                  </a:lnTo>
                  <a:lnTo>
                    <a:pt x="621030" y="170078"/>
                  </a:lnTo>
                  <a:lnTo>
                    <a:pt x="170688" y="620420"/>
                  </a:lnTo>
                  <a:close/>
                  <a:moveTo>
                    <a:pt x="236525" y="620573"/>
                  </a:moveTo>
                  <a:lnTo>
                    <a:pt x="621030" y="236220"/>
                  </a:lnTo>
                  <a:lnTo>
                    <a:pt x="621030" y="312420"/>
                  </a:lnTo>
                  <a:lnTo>
                    <a:pt x="313944" y="620268"/>
                  </a:lnTo>
                  <a:close/>
                  <a:moveTo>
                    <a:pt x="379628" y="620573"/>
                  </a:moveTo>
                  <a:lnTo>
                    <a:pt x="621030" y="379476"/>
                  </a:lnTo>
                  <a:lnTo>
                    <a:pt x="621030" y="455676"/>
                  </a:lnTo>
                  <a:lnTo>
                    <a:pt x="456286" y="620420"/>
                  </a:lnTo>
                  <a:close/>
                  <a:moveTo>
                    <a:pt x="595274" y="620573"/>
                  </a:moveTo>
                  <a:lnTo>
                    <a:pt x="519074" y="620573"/>
                  </a:lnTo>
                  <a:lnTo>
                    <a:pt x="620878" y="518770"/>
                  </a:lnTo>
                  <a:lnTo>
                    <a:pt x="620878" y="594970"/>
                  </a:lnTo>
                  <a:close/>
                </a:path>
              </a:pathLst>
            </a:custGeom>
            <a:solidFill>
              <a:srgbClr val="76D2B6"/>
            </a:solidFill>
            <a:ln w="15240" cap="flat">
              <a:noFill/>
              <a:prstDash val="solid"/>
              <a:miter/>
            </a:ln>
          </p:spPr>
          <p:txBody>
            <a:bodyPr rtlCol="0" anchor="ctr"/>
            <a:lstStyle/>
            <a:p>
              <a:endParaRPr lang="nl-NL"/>
            </a:p>
          </p:txBody>
        </p:sp>
        <p:sp>
          <p:nvSpPr>
            <p:cNvPr id="10" name="Vrije vorm: vorm 9">
              <a:extLst>
                <a:ext uri="{FF2B5EF4-FFF2-40B4-BE49-F238E27FC236}">
                  <a16:creationId xmlns:a16="http://schemas.microsoft.com/office/drawing/2014/main" id="{5542FA25-19FC-4BB5-A290-F84D8A269C36}"/>
                </a:ext>
              </a:extLst>
            </p:cNvPr>
            <p:cNvSpPr/>
            <p:nvPr/>
          </p:nvSpPr>
          <p:spPr>
            <a:xfrm>
              <a:off x="2065477" y="3647693"/>
              <a:ext cx="622249" cy="595121"/>
            </a:xfrm>
            <a:custGeom>
              <a:avLst/>
              <a:gdLst>
                <a:gd name="connsiteX0" fmla="*/ 0 w 622249"/>
                <a:gd name="connsiteY0" fmla="*/ 54102 h 595121"/>
                <a:gd name="connsiteX1" fmla="*/ 0 w 622249"/>
                <a:gd name="connsiteY1" fmla="*/ 0 h 595121"/>
                <a:gd name="connsiteX2" fmla="*/ 622249 w 622249"/>
                <a:gd name="connsiteY2" fmla="*/ 0 h 595121"/>
                <a:gd name="connsiteX3" fmla="*/ 622249 w 622249"/>
                <a:gd name="connsiteY3" fmla="*/ 54102 h 595121"/>
                <a:gd name="connsiteX4" fmla="*/ 0 w 622249"/>
                <a:gd name="connsiteY4" fmla="*/ 162306 h 595121"/>
                <a:gd name="connsiteX5" fmla="*/ 0 w 622249"/>
                <a:gd name="connsiteY5" fmla="*/ 108204 h 595121"/>
                <a:gd name="connsiteX6" fmla="*/ 622249 w 622249"/>
                <a:gd name="connsiteY6" fmla="*/ 108204 h 595121"/>
                <a:gd name="connsiteX7" fmla="*/ 622249 w 622249"/>
                <a:gd name="connsiteY7" fmla="*/ 162306 h 595121"/>
                <a:gd name="connsiteX8" fmla="*/ 0 w 622249"/>
                <a:gd name="connsiteY8" fmla="*/ 270510 h 595121"/>
                <a:gd name="connsiteX9" fmla="*/ 0 w 622249"/>
                <a:gd name="connsiteY9" fmla="*/ 216408 h 595121"/>
                <a:gd name="connsiteX10" fmla="*/ 622249 w 622249"/>
                <a:gd name="connsiteY10" fmla="*/ 216408 h 595121"/>
                <a:gd name="connsiteX11" fmla="*/ 622249 w 622249"/>
                <a:gd name="connsiteY11" fmla="*/ 270510 h 595121"/>
                <a:gd name="connsiteX12" fmla="*/ 0 w 622249"/>
                <a:gd name="connsiteY12" fmla="*/ 378714 h 595121"/>
                <a:gd name="connsiteX13" fmla="*/ 0 w 622249"/>
                <a:gd name="connsiteY13" fmla="*/ 324612 h 595121"/>
                <a:gd name="connsiteX14" fmla="*/ 622249 w 622249"/>
                <a:gd name="connsiteY14" fmla="*/ 324612 h 595121"/>
                <a:gd name="connsiteX15" fmla="*/ 622249 w 622249"/>
                <a:gd name="connsiteY15" fmla="*/ 378714 h 595121"/>
                <a:gd name="connsiteX16" fmla="*/ 0 w 622249"/>
                <a:gd name="connsiteY16" fmla="*/ 486918 h 595121"/>
                <a:gd name="connsiteX17" fmla="*/ 0 w 622249"/>
                <a:gd name="connsiteY17" fmla="*/ 432816 h 595121"/>
                <a:gd name="connsiteX18" fmla="*/ 622249 w 622249"/>
                <a:gd name="connsiteY18" fmla="*/ 432816 h 595121"/>
                <a:gd name="connsiteX19" fmla="*/ 622249 w 622249"/>
                <a:gd name="connsiteY19" fmla="*/ 486918 h 595121"/>
                <a:gd name="connsiteX20" fmla="*/ 0 w 622249"/>
                <a:gd name="connsiteY20" fmla="*/ 595122 h 595121"/>
                <a:gd name="connsiteX21" fmla="*/ 0 w 622249"/>
                <a:gd name="connsiteY21" fmla="*/ 541020 h 595121"/>
                <a:gd name="connsiteX22" fmla="*/ 622249 w 622249"/>
                <a:gd name="connsiteY22" fmla="*/ 541020 h 595121"/>
                <a:gd name="connsiteX23" fmla="*/ 622249 w 622249"/>
                <a:gd name="connsiteY23" fmla="*/ 595122 h 5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249" h="595121">
                  <a:moveTo>
                    <a:pt x="0" y="54102"/>
                  </a:moveTo>
                  <a:lnTo>
                    <a:pt x="0" y="0"/>
                  </a:lnTo>
                  <a:lnTo>
                    <a:pt x="622249" y="0"/>
                  </a:lnTo>
                  <a:lnTo>
                    <a:pt x="622249" y="54102"/>
                  </a:lnTo>
                  <a:close/>
                  <a:moveTo>
                    <a:pt x="0" y="162306"/>
                  </a:moveTo>
                  <a:lnTo>
                    <a:pt x="0" y="108204"/>
                  </a:lnTo>
                  <a:lnTo>
                    <a:pt x="622249" y="108204"/>
                  </a:lnTo>
                  <a:lnTo>
                    <a:pt x="622249" y="162306"/>
                  </a:lnTo>
                  <a:close/>
                  <a:moveTo>
                    <a:pt x="0" y="270510"/>
                  </a:moveTo>
                  <a:lnTo>
                    <a:pt x="0" y="216408"/>
                  </a:lnTo>
                  <a:lnTo>
                    <a:pt x="622249" y="216408"/>
                  </a:lnTo>
                  <a:lnTo>
                    <a:pt x="622249" y="270510"/>
                  </a:lnTo>
                  <a:close/>
                  <a:moveTo>
                    <a:pt x="0" y="378714"/>
                  </a:moveTo>
                  <a:lnTo>
                    <a:pt x="0" y="324612"/>
                  </a:lnTo>
                  <a:lnTo>
                    <a:pt x="622249" y="324612"/>
                  </a:lnTo>
                  <a:lnTo>
                    <a:pt x="622249" y="378714"/>
                  </a:lnTo>
                  <a:close/>
                  <a:moveTo>
                    <a:pt x="0" y="486918"/>
                  </a:moveTo>
                  <a:lnTo>
                    <a:pt x="0" y="432816"/>
                  </a:lnTo>
                  <a:lnTo>
                    <a:pt x="622249" y="432816"/>
                  </a:lnTo>
                  <a:lnTo>
                    <a:pt x="622249" y="486918"/>
                  </a:lnTo>
                  <a:close/>
                  <a:moveTo>
                    <a:pt x="0" y="595122"/>
                  </a:moveTo>
                  <a:lnTo>
                    <a:pt x="0" y="541020"/>
                  </a:lnTo>
                  <a:lnTo>
                    <a:pt x="622249" y="541020"/>
                  </a:lnTo>
                  <a:lnTo>
                    <a:pt x="622249" y="595122"/>
                  </a:lnTo>
                  <a:close/>
                </a:path>
              </a:pathLst>
            </a:custGeom>
            <a:solidFill>
              <a:srgbClr val="8FCAE7"/>
            </a:solidFill>
            <a:ln w="15240" cap="flat">
              <a:noFill/>
              <a:prstDash val="solid"/>
              <a:miter/>
            </a:ln>
          </p:spPr>
          <p:txBody>
            <a:bodyPr rtlCol="0" anchor="ctr"/>
            <a:lstStyle/>
            <a:p>
              <a:endParaRPr lang="nl-NL"/>
            </a:p>
          </p:txBody>
        </p:sp>
        <p:sp>
          <p:nvSpPr>
            <p:cNvPr id="12" name="Vrije vorm: vorm 11">
              <a:extLst>
                <a:ext uri="{FF2B5EF4-FFF2-40B4-BE49-F238E27FC236}">
                  <a16:creationId xmlns:a16="http://schemas.microsoft.com/office/drawing/2014/main" id="{B1AA181E-8929-41FE-993F-42E410110C67}"/>
                </a:ext>
              </a:extLst>
            </p:cNvPr>
            <p:cNvSpPr/>
            <p:nvPr/>
          </p:nvSpPr>
          <p:spPr>
            <a:xfrm>
              <a:off x="2741828" y="3647541"/>
              <a:ext cx="622096" cy="596036"/>
            </a:xfrm>
            <a:custGeom>
              <a:avLst/>
              <a:gdLst>
                <a:gd name="connsiteX0" fmla="*/ 622097 w 622096"/>
                <a:gd name="connsiteY0" fmla="*/ 48616 h 596036"/>
                <a:gd name="connsiteX1" fmla="*/ 554431 w 622096"/>
                <a:gd name="connsiteY1" fmla="*/ 260300 h 596036"/>
                <a:gd name="connsiteX2" fmla="*/ 421538 w 622096"/>
                <a:gd name="connsiteY2" fmla="*/ 432969 h 596036"/>
                <a:gd name="connsiteX3" fmla="*/ 16612 w 622096"/>
                <a:gd name="connsiteY3" fmla="*/ 595274 h 596036"/>
                <a:gd name="connsiteX4" fmla="*/ 0 w 622096"/>
                <a:gd name="connsiteY4" fmla="*/ 595274 h 596036"/>
                <a:gd name="connsiteX5" fmla="*/ 0 w 622096"/>
                <a:gd name="connsiteY5" fmla="*/ 541173 h 596036"/>
                <a:gd name="connsiteX6" fmla="*/ 215494 w 622096"/>
                <a:gd name="connsiteY6" fmla="*/ 498958 h 596036"/>
                <a:gd name="connsiteX7" fmla="*/ 394564 w 622096"/>
                <a:gd name="connsiteY7" fmla="*/ 383591 h 596036"/>
                <a:gd name="connsiteX8" fmla="*/ 518617 w 622096"/>
                <a:gd name="connsiteY8" fmla="*/ 211836 h 596036"/>
                <a:gd name="connsiteX9" fmla="*/ 571957 w 622096"/>
                <a:gd name="connsiteY9" fmla="*/ 153 h 596036"/>
                <a:gd name="connsiteX10" fmla="*/ 622097 w 622096"/>
                <a:gd name="connsiteY10" fmla="*/ 153 h 596036"/>
                <a:gd name="connsiteX11" fmla="*/ 517855 w 622096"/>
                <a:gd name="connsiteY11" fmla="*/ 153 h 596036"/>
                <a:gd name="connsiteX12" fmla="*/ 356311 w 622096"/>
                <a:gd name="connsiteY12" fmla="*/ 346253 h 596036"/>
                <a:gd name="connsiteX13" fmla="*/ 194920 w 622096"/>
                <a:gd name="connsiteY13" fmla="*/ 448818 h 596036"/>
                <a:gd name="connsiteX14" fmla="*/ 0 w 622096"/>
                <a:gd name="connsiteY14" fmla="*/ 487070 h 596036"/>
                <a:gd name="connsiteX15" fmla="*/ 0 w 622096"/>
                <a:gd name="connsiteY15" fmla="*/ 432969 h 596036"/>
                <a:gd name="connsiteX16" fmla="*/ 173431 w 622096"/>
                <a:gd name="connsiteY16" fmla="*/ 398679 h 596036"/>
                <a:gd name="connsiteX17" fmla="*/ 318211 w 622096"/>
                <a:gd name="connsiteY17" fmla="*/ 307239 h 596036"/>
                <a:gd name="connsiteX18" fmla="*/ 463753 w 622096"/>
                <a:gd name="connsiteY18" fmla="*/ 153 h 596036"/>
                <a:gd name="connsiteX19" fmla="*/ 409651 w 622096"/>
                <a:gd name="connsiteY19" fmla="*/ 153 h 596036"/>
                <a:gd name="connsiteX20" fmla="*/ 0 w 622096"/>
                <a:gd name="connsiteY20" fmla="*/ 378867 h 596036"/>
                <a:gd name="connsiteX21" fmla="*/ 0 w 622096"/>
                <a:gd name="connsiteY21" fmla="*/ 324764 h 596036"/>
                <a:gd name="connsiteX22" fmla="*/ 298247 w 622096"/>
                <a:gd name="connsiteY22" fmla="*/ 163983 h 596036"/>
                <a:gd name="connsiteX23" fmla="*/ 355549 w 622096"/>
                <a:gd name="connsiteY23" fmla="*/ 153 h 596036"/>
                <a:gd name="connsiteX24" fmla="*/ 300685 w 622096"/>
                <a:gd name="connsiteY24" fmla="*/ 153 h 596036"/>
                <a:gd name="connsiteX25" fmla="*/ 202844 w 622096"/>
                <a:gd name="connsiteY25" fmla="*/ 192938 h 596036"/>
                <a:gd name="connsiteX26" fmla="*/ 0 w 622096"/>
                <a:gd name="connsiteY26" fmla="*/ 270967 h 596036"/>
                <a:gd name="connsiteX27" fmla="*/ 0 w 622096"/>
                <a:gd name="connsiteY27" fmla="*/ 216865 h 596036"/>
                <a:gd name="connsiteX28" fmla="*/ 116129 w 622096"/>
                <a:gd name="connsiteY28" fmla="*/ 188214 h 596036"/>
                <a:gd name="connsiteX29" fmla="*/ 246583 w 622096"/>
                <a:gd name="connsiteY29" fmla="*/ 457 h 596036"/>
                <a:gd name="connsiteX30" fmla="*/ 191719 w 622096"/>
                <a:gd name="connsiteY30" fmla="*/ 153 h 596036"/>
                <a:gd name="connsiteX31" fmla="*/ 89002 w 622096"/>
                <a:gd name="connsiteY31" fmla="*/ 141732 h 596036"/>
                <a:gd name="connsiteX32" fmla="*/ 0 w 622096"/>
                <a:gd name="connsiteY32" fmla="*/ 162458 h 596036"/>
                <a:gd name="connsiteX33" fmla="*/ 0 w 622096"/>
                <a:gd name="connsiteY33" fmla="*/ 108356 h 596036"/>
                <a:gd name="connsiteX34" fmla="*/ 87477 w 622096"/>
                <a:gd name="connsiteY34" fmla="*/ 77876 h 596036"/>
                <a:gd name="connsiteX35" fmla="*/ 136855 w 622096"/>
                <a:gd name="connsiteY35" fmla="*/ 0 h 596036"/>
                <a:gd name="connsiteX36" fmla="*/ 80315 w 622096"/>
                <a:gd name="connsiteY36" fmla="*/ 153 h 596036"/>
                <a:gd name="connsiteX37" fmla="*/ 48463 w 622096"/>
                <a:gd name="connsiteY37" fmla="*/ 39167 h 596036"/>
                <a:gd name="connsiteX38" fmla="*/ 0 w 622096"/>
                <a:gd name="connsiteY38" fmla="*/ 54407 h 596036"/>
                <a:gd name="connsiteX39" fmla="*/ 0 w 622096"/>
                <a:gd name="connsiteY39" fmla="*/ 305 h 596036"/>
                <a:gd name="connsiteX40" fmla="*/ 80315 w 622096"/>
                <a:gd name="connsiteY40" fmla="*/ 305 h 596036"/>
                <a:gd name="connsiteX41" fmla="*/ 622097 w 622096"/>
                <a:gd name="connsiteY41" fmla="*/ 360579 h 596036"/>
                <a:gd name="connsiteX42" fmla="*/ 384200 w 622096"/>
                <a:gd name="connsiteY42" fmla="*/ 596037 h 596036"/>
                <a:gd name="connsiteX43" fmla="*/ 266395 w 622096"/>
                <a:gd name="connsiteY43" fmla="*/ 596037 h 596036"/>
                <a:gd name="connsiteX44" fmla="*/ 477317 w 622096"/>
                <a:gd name="connsiteY44" fmla="*/ 454762 h 596036"/>
                <a:gd name="connsiteX45" fmla="*/ 622097 w 622096"/>
                <a:gd name="connsiteY45" fmla="*/ 246736 h 596036"/>
                <a:gd name="connsiteX46" fmla="*/ 478841 w 622096"/>
                <a:gd name="connsiteY46" fmla="*/ 596037 h 596036"/>
                <a:gd name="connsiteX47" fmla="*/ 622097 w 622096"/>
                <a:gd name="connsiteY47" fmla="*/ 454457 h 596036"/>
                <a:gd name="connsiteX48" fmla="*/ 622097 w 622096"/>
                <a:gd name="connsiteY48" fmla="*/ 537972 h 596036"/>
                <a:gd name="connsiteX49" fmla="*/ 564032 w 622096"/>
                <a:gd name="connsiteY49" fmla="*/ 596037 h 59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22096" h="596036">
                  <a:moveTo>
                    <a:pt x="622097" y="48616"/>
                  </a:moveTo>
                  <a:cubicBezTo>
                    <a:pt x="612587" y="122697"/>
                    <a:pt x="589666" y="194432"/>
                    <a:pt x="554431" y="260300"/>
                  </a:cubicBezTo>
                  <a:cubicBezTo>
                    <a:pt x="520461" y="325115"/>
                    <a:pt x="475503" y="383545"/>
                    <a:pt x="421538" y="432969"/>
                  </a:cubicBezTo>
                  <a:cubicBezTo>
                    <a:pt x="310119" y="533446"/>
                    <a:pt x="166573" y="590977"/>
                    <a:pt x="16612" y="595274"/>
                  </a:cubicBezTo>
                  <a:lnTo>
                    <a:pt x="0" y="595274"/>
                  </a:lnTo>
                  <a:lnTo>
                    <a:pt x="0" y="541173"/>
                  </a:lnTo>
                  <a:cubicBezTo>
                    <a:pt x="73929" y="541569"/>
                    <a:pt x="147188" y="527213"/>
                    <a:pt x="215494" y="498958"/>
                  </a:cubicBezTo>
                  <a:cubicBezTo>
                    <a:pt x="281742" y="471785"/>
                    <a:pt x="342443" y="432679"/>
                    <a:pt x="394564" y="383591"/>
                  </a:cubicBezTo>
                  <a:cubicBezTo>
                    <a:pt x="446334" y="334640"/>
                    <a:pt x="488411" y="276362"/>
                    <a:pt x="518617" y="211836"/>
                  </a:cubicBezTo>
                  <a:cubicBezTo>
                    <a:pt x="550347" y="145542"/>
                    <a:pt x="568483" y="73564"/>
                    <a:pt x="571957" y="153"/>
                  </a:cubicBezTo>
                  <a:lnTo>
                    <a:pt x="622097" y="153"/>
                  </a:lnTo>
                  <a:close/>
                  <a:moveTo>
                    <a:pt x="517855" y="153"/>
                  </a:moveTo>
                  <a:cubicBezTo>
                    <a:pt x="509031" y="131628"/>
                    <a:pt x="451424" y="255057"/>
                    <a:pt x="356311" y="346253"/>
                  </a:cubicBezTo>
                  <a:cubicBezTo>
                    <a:pt x="309311" y="390113"/>
                    <a:pt x="254584" y="424891"/>
                    <a:pt x="194920" y="448818"/>
                  </a:cubicBezTo>
                  <a:cubicBezTo>
                    <a:pt x="133091" y="474223"/>
                    <a:pt x="66858" y="487223"/>
                    <a:pt x="0" y="487070"/>
                  </a:cubicBezTo>
                  <a:lnTo>
                    <a:pt x="0" y="432969"/>
                  </a:lnTo>
                  <a:cubicBezTo>
                    <a:pt x="59482" y="432831"/>
                    <a:pt x="118369" y="421188"/>
                    <a:pt x="173431" y="398679"/>
                  </a:cubicBezTo>
                  <a:cubicBezTo>
                    <a:pt x="227045" y="377647"/>
                    <a:pt x="276179" y="346619"/>
                    <a:pt x="318211" y="307239"/>
                  </a:cubicBezTo>
                  <a:cubicBezTo>
                    <a:pt x="403220" y="226527"/>
                    <a:pt x="455112" y="117043"/>
                    <a:pt x="463753" y="153"/>
                  </a:cubicBezTo>
                  <a:close/>
                  <a:moveTo>
                    <a:pt x="409651" y="153"/>
                  </a:moveTo>
                  <a:cubicBezTo>
                    <a:pt x="393223" y="214122"/>
                    <a:pt x="214610" y="379263"/>
                    <a:pt x="0" y="378867"/>
                  </a:cubicBezTo>
                  <a:lnTo>
                    <a:pt x="0" y="324764"/>
                  </a:lnTo>
                  <a:cubicBezTo>
                    <a:pt x="120198" y="325023"/>
                    <a:pt x="232395" y="264551"/>
                    <a:pt x="298247" y="163983"/>
                  </a:cubicBezTo>
                  <a:cubicBezTo>
                    <a:pt x="330982" y="115138"/>
                    <a:pt x="350718" y="58750"/>
                    <a:pt x="355549" y="153"/>
                  </a:cubicBezTo>
                  <a:close/>
                  <a:moveTo>
                    <a:pt x="300685" y="153"/>
                  </a:moveTo>
                  <a:cubicBezTo>
                    <a:pt x="294178" y="74630"/>
                    <a:pt x="259126" y="143713"/>
                    <a:pt x="202844" y="192938"/>
                  </a:cubicBezTo>
                  <a:cubicBezTo>
                    <a:pt x="147676" y="243886"/>
                    <a:pt x="75103" y="271805"/>
                    <a:pt x="0" y="270967"/>
                  </a:cubicBezTo>
                  <a:lnTo>
                    <a:pt x="0" y="216865"/>
                  </a:lnTo>
                  <a:cubicBezTo>
                    <a:pt x="40493" y="217185"/>
                    <a:pt x="80421" y="207340"/>
                    <a:pt x="116129" y="188214"/>
                  </a:cubicBezTo>
                  <a:cubicBezTo>
                    <a:pt x="187604" y="150632"/>
                    <a:pt x="236296" y="80559"/>
                    <a:pt x="246583" y="457"/>
                  </a:cubicBezTo>
                  <a:close/>
                  <a:moveTo>
                    <a:pt x="191719" y="153"/>
                  </a:moveTo>
                  <a:cubicBezTo>
                    <a:pt x="181935" y="60990"/>
                    <a:pt x="143789" y="113553"/>
                    <a:pt x="89002" y="141732"/>
                  </a:cubicBezTo>
                  <a:cubicBezTo>
                    <a:pt x="61356" y="155479"/>
                    <a:pt x="30876" y="162580"/>
                    <a:pt x="0" y="162458"/>
                  </a:cubicBezTo>
                  <a:lnTo>
                    <a:pt x="0" y="108356"/>
                  </a:lnTo>
                  <a:cubicBezTo>
                    <a:pt x="31852" y="108875"/>
                    <a:pt x="62850" y="98069"/>
                    <a:pt x="87477" y="77876"/>
                  </a:cubicBezTo>
                  <a:cubicBezTo>
                    <a:pt x="112288" y="58263"/>
                    <a:pt x="129692" y="30800"/>
                    <a:pt x="136855" y="0"/>
                  </a:cubicBezTo>
                  <a:close/>
                  <a:moveTo>
                    <a:pt x="80315" y="153"/>
                  </a:moveTo>
                  <a:cubicBezTo>
                    <a:pt x="73563" y="15880"/>
                    <a:pt x="62530" y="29398"/>
                    <a:pt x="48463" y="39167"/>
                  </a:cubicBezTo>
                  <a:cubicBezTo>
                    <a:pt x="34320" y="49225"/>
                    <a:pt x="17358" y="54559"/>
                    <a:pt x="0" y="54407"/>
                  </a:cubicBezTo>
                  <a:lnTo>
                    <a:pt x="0" y="305"/>
                  </a:lnTo>
                  <a:lnTo>
                    <a:pt x="80315" y="305"/>
                  </a:lnTo>
                  <a:close/>
                  <a:moveTo>
                    <a:pt x="622097" y="360579"/>
                  </a:moveTo>
                  <a:cubicBezTo>
                    <a:pt x="562143" y="456453"/>
                    <a:pt x="480700" y="537073"/>
                    <a:pt x="384200" y="596037"/>
                  </a:cubicBezTo>
                  <a:lnTo>
                    <a:pt x="266395" y="596037"/>
                  </a:lnTo>
                  <a:cubicBezTo>
                    <a:pt x="344866" y="562448"/>
                    <a:pt x="416387" y="514548"/>
                    <a:pt x="477317" y="454762"/>
                  </a:cubicBezTo>
                  <a:cubicBezTo>
                    <a:pt x="538368" y="395249"/>
                    <a:pt x="587502" y="324658"/>
                    <a:pt x="622097" y="246736"/>
                  </a:cubicBezTo>
                  <a:close/>
                  <a:moveTo>
                    <a:pt x="478841" y="596037"/>
                  </a:moveTo>
                  <a:cubicBezTo>
                    <a:pt x="532455" y="555178"/>
                    <a:pt x="580598" y="507584"/>
                    <a:pt x="622097" y="454457"/>
                  </a:cubicBezTo>
                  <a:lnTo>
                    <a:pt x="622097" y="537972"/>
                  </a:lnTo>
                  <a:cubicBezTo>
                    <a:pt x="603504" y="558287"/>
                    <a:pt x="584149" y="577642"/>
                    <a:pt x="564032" y="596037"/>
                  </a:cubicBezTo>
                  <a:close/>
                </a:path>
              </a:pathLst>
            </a:custGeom>
            <a:solidFill>
              <a:srgbClr val="39870C"/>
            </a:solidFill>
            <a:ln w="15240" cap="flat">
              <a:noFill/>
              <a:prstDash val="solid"/>
              <a:miter/>
            </a:ln>
          </p:spPr>
          <p:txBody>
            <a:bodyPr rtlCol="0" anchor="ctr"/>
            <a:lstStyle/>
            <a:p>
              <a:endParaRPr lang="nl-NL"/>
            </a:p>
          </p:txBody>
        </p:sp>
        <p:sp>
          <p:nvSpPr>
            <p:cNvPr id="13" name="Vrije vorm: vorm 12">
              <a:extLst>
                <a:ext uri="{FF2B5EF4-FFF2-40B4-BE49-F238E27FC236}">
                  <a16:creationId xmlns:a16="http://schemas.microsoft.com/office/drawing/2014/main" id="{9EB3A5FF-3CF8-4926-A27F-C254C07CBF79}"/>
                </a:ext>
              </a:extLst>
            </p:cNvPr>
            <p:cNvSpPr/>
            <p:nvPr/>
          </p:nvSpPr>
          <p:spPr>
            <a:xfrm>
              <a:off x="3417722" y="3647693"/>
              <a:ext cx="622401" cy="595121"/>
            </a:xfrm>
            <a:custGeom>
              <a:avLst/>
              <a:gdLst>
                <a:gd name="connsiteX0" fmla="*/ 573176 w 622401"/>
                <a:gd name="connsiteY0" fmla="*/ 0 h 595121"/>
                <a:gd name="connsiteX1" fmla="*/ 622402 w 622401"/>
                <a:gd name="connsiteY1" fmla="*/ 0 h 595121"/>
                <a:gd name="connsiteX2" fmla="*/ 622402 w 622401"/>
                <a:gd name="connsiteY2" fmla="*/ 26975 h 595121"/>
                <a:gd name="connsiteX3" fmla="*/ 54407 w 622401"/>
                <a:gd name="connsiteY3" fmla="*/ 595122 h 595121"/>
                <a:gd name="connsiteX4" fmla="*/ 305 w 622401"/>
                <a:gd name="connsiteY4" fmla="*/ 595122 h 595121"/>
                <a:gd name="connsiteX5" fmla="*/ 305 w 622401"/>
                <a:gd name="connsiteY5" fmla="*/ 572872 h 595121"/>
                <a:gd name="connsiteX6" fmla="*/ 305 w 622401"/>
                <a:gd name="connsiteY6" fmla="*/ 429616 h 595121"/>
                <a:gd name="connsiteX7" fmla="*/ 429921 w 622401"/>
                <a:gd name="connsiteY7" fmla="*/ 0 h 595121"/>
                <a:gd name="connsiteX8" fmla="*/ 506121 w 622401"/>
                <a:gd name="connsiteY8" fmla="*/ 0 h 595121"/>
                <a:gd name="connsiteX9" fmla="*/ 153 w 622401"/>
                <a:gd name="connsiteY9" fmla="*/ 505968 h 595121"/>
                <a:gd name="connsiteX10" fmla="*/ 305 w 622401"/>
                <a:gd name="connsiteY10" fmla="*/ 286360 h 595121"/>
                <a:gd name="connsiteX11" fmla="*/ 286665 w 622401"/>
                <a:gd name="connsiteY11" fmla="*/ 0 h 595121"/>
                <a:gd name="connsiteX12" fmla="*/ 362865 w 622401"/>
                <a:gd name="connsiteY12" fmla="*/ 0 h 595121"/>
                <a:gd name="connsiteX13" fmla="*/ 0 w 622401"/>
                <a:gd name="connsiteY13" fmla="*/ 362712 h 595121"/>
                <a:gd name="connsiteX14" fmla="*/ 305 w 622401"/>
                <a:gd name="connsiteY14" fmla="*/ 144018 h 595121"/>
                <a:gd name="connsiteX15" fmla="*/ 144323 w 622401"/>
                <a:gd name="connsiteY15" fmla="*/ 0 h 595121"/>
                <a:gd name="connsiteX16" fmla="*/ 220523 w 622401"/>
                <a:gd name="connsiteY16" fmla="*/ 0 h 595121"/>
                <a:gd name="connsiteX17" fmla="*/ 153 w 622401"/>
                <a:gd name="connsiteY17" fmla="*/ 220370 h 595121"/>
                <a:gd name="connsiteX18" fmla="*/ 305 w 622401"/>
                <a:gd name="connsiteY18" fmla="*/ 1524 h 595121"/>
                <a:gd name="connsiteX19" fmla="*/ 1829 w 622401"/>
                <a:gd name="connsiteY19" fmla="*/ 0 h 595121"/>
                <a:gd name="connsiteX20" fmla="*/ 78029 w 622401"/>
                <a:gd name="connsiteY20" fmla="*/ 0 h 595121"/>
                <a:gd name="connsiteX21" fmla="*/ 0 w 622401"/>
                <a:gd name="connsiteY21" fmla="*/ 77876 h 595121"/>
                <a:gd name="connsiteX22" fmla="*/ 121158 w 622401"/>
                <a:gd name="connsiteY22" fmla="*/ 595122 h 595121"/>
                <a:gd name="connsiteX23" fmla="*/ 622402 w 622401"/>
                <a:gd name="connsiteY23" fmla="*/ 93878 h 595121"/>
                <a:gd name="connsiteX24" fmla="*/ 622402 w 622401"/>
                <a:gd name="connsiteY24" fmla="*/ 170078 h 595121"/>
                <a:gd name="connsiteX25" fmla="*/ 197663 w 622401"/>
                <a:gd name="connsiteY25" fmla="*/ 595122 h 595121"/>
                <a:gd name="connsiteX26" fmla="*/ 263652 w 622401"/>
                <a:gd name="connsiteY26" fmla="*/ 595122 h 595121"/>
                <a:gd name="connsiteX27" fmla="*/ 622402 w 622401"/>
                <a:gd name="connsiteY27" fmla="*/ 236220 h 595121"/>
                <a:gd name="connsiteX28" fmla="*/ 622402 w 622401"/>
                <a:gd name="connsiteY28" fmla="*/ 312420 h 595121"/>
                <a:gd name="connsiteX29" fmla="*/ 340005 w 622401"/>
                <a:gd name="connsiteY29" fmla="*/ 595122 h 595121"/>
                <a:gd name="connsiteX30" fmla="*/ 406908 w 622401"/>
                <a:gd name="connsiteY30" fmla="*/ 595122 h 595121"/>
                <a:gd name="connsiteX31" fmla="*/ 622402 w 622401"/>
                <a:gd name="connsiteY31" fmla="*/ 379476 h 595121"/>
                <a:gd name="connsiteX32" fmla="*/ 622402 w 622401"/>
                <a:gd name="connsiteY32" fmla="*/ 455676 h 595121"/>
                <a:gd name="connsiteX33" fmla="*/ 483718 w 622401"/>
                <a:gd name="connsiteY33" fmla="*/ 595122 h 595121"/>
                <a:gd name="connsiteX34" fmla="*/ 622402 w 622401"/>
                <a:gd name="connsiteY34" fmla="*/ 595122 h 595121"/>
                <a:gd name="connsiteX35" fmla="*/ 546202 w 622401"/>
                <a:gd name="connsiteY35" fmla="*/ 595122 h 595121"/>
                <a:gd name="connsiteX36" fmla="*/ 622402 w 622401"/>
                <a:gd name="connsiteY36" fmla="*/ 518922 h 5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401" h="595121">
                  <a:moveTo>
                    <a:pt x="573176" y="0"/>
                  </a:moveTo>
                  <a:lnTo>
                    <a:pt x="622402" y="0"/>
                  </a:lnTo>
                  <a:lnTo>
                    <a:pt x="622402" y="26975"/>
                  </a:lnTo>
                  <a:lnTo>
                    <a:pt x="54407" y="595122"/>
                  </a:lnTo>
                  <a:lnTo>
                    <a:pt x="305" y="595122"/>
                  </a:lnTo>
                  <a:lnTo>
                    <a:pt x="305" y="572872"/>
                  </a:lnTo>
                  <a:close/>
                  <a:moveTo>
                    <a:pt x="305" y="429616"/>
                  </a:moveTo>
                  <a:lnTo>
                    <a:pt x="429921" y="0"/>
                  </a:lnTo>
                  <a:lnTo>
                    <a:pt x="506121" y="0"/>
                  </a:lnTo>
                  <a:lnTo>
                    <a:pt x="153" y="505968"/>
                  </a:lnTo>
                  <a:close/>
                  <a:moveTo>
                    <a:pt x="305" y="286360"/>
                  </a:moveTo>
                  <a:lnTo>
                    <a:pt x="286665" y="0"/>
                  </a:lnTo>
                  <a:lnTo>
                    <a:pt x="362865" y="0"/>
                  </a:lnTo>
                  <a:lnTo>
                    <a:pt x="0" y="362712"/>
                  </a:lnTo>
                  <a:close/>
                  <a:moveTo>
                    <a:pt x="305" y="144018"/>
                  </a:moveTo>
                  <a:lnTo>
                    <a:pt x="144323" y="0"/>
                  </a:lnTo>
                  <a:lnTo>
                    <a:pt x="220523" y="0"/>
                  </a:lnTo>
                  <a:lnTo>
                    <a:pt x="153" y="220370"/>
                  </a:lnTo>
                  <a:close/>
                  <a:moveTo>
                    <a:pt x="305" y="1524"/>
                  </a:moveTo>
                  <a:lnTo>
                    <a:pt x="1829" y="0"/>
                  </a:lnTo>
                  <a:lnTo>
                    <a:pt x="78029" y="0"/>
                  </a:lnTo>
                  <a:lnTo>
                    <a:pt x="0" y="77876"/>
                  </a:lnTo>
                  <a:close/>
                  <a:moveTo>
                    <a:pt x="121158" y="595122"/>
                  </a:moveTo>
                  <a:lnTo>
                    <a:pt x="622402" y="93878"/>
                  </a:lnTo>
                  <a:lnTo>
                    <a:pt x="622402" y="170078"/>
                  </a:lnTo>
                  <a:lnTo>
                    <a:pt x="197663" y="595122"/>
                  </a:lnTo>
                  <a:close/>
                  <a:moveTo>
                    <a:pt x="263652" y="595122"/>
                  </a:moveTo>
                  <a:lnTo>
                    <a:pt x="622402" y="236220"/>
                  </a:lnTo>
                  <a:lnTo>
                    <a:pt x="622402" y="312420"/>
                  </a:lnTo>
                  <a:lnTo>
                    <a:pt x="340005" y="595122"/>
                  </a:lnTo>
                  <a:close/>
                  <a:moveTo>
                    <a:pt x="406908" y="595122"/>
                  </a:moveTo>
                  <a:lnTo>
                    <a:pt x="622402" y="379476"/>
                  </a:lnTo>
                  <a:lnTo>
                    <a:pt x="622402" y="455676"/>
                  </a:lnTo>
                  <a:lnTo>
                    <a:pt x="483718" y="595122"/>
                  </a:lnTo>
                  <a:close/>
                  <a:moveTo>
                    <a:pt x="622402" y="595122"/>
                  </a:moveTo>
                  <a:lnTo>
                    <a:pt x="546202" y="595122"/>
                  </a:lnTo>
                  <a:lnTo>
                    <a:pt x="622402" y="518922"/>
                  </a:lnTo>
                  <a:close/>
                </a:path>
              </a:pathLst>
            </a:custGeom>
            <a:solidFill>
              <a:srgbClr val="76D2B6"/>
            </a:solidFill>
            <a:ln w="15240" cap="flat">
              <a:noFill/>
              <a:prstDash val="solid"/>
              <a:miter/>
            </a:ln>
          </p:spPr>
          <p:txBody>
            <a:bodyPr rtlCol="0" anchor="ctr"/>
            <a:lstStyle/>
            <a:p>
              <a:endParaRPr lang="nl-NL"/>
            </a:p>
          </p:txBody>
        </p:sp>
        <p:sp>
          <p:nvSpPr>
            <p:cNvPr id="15" name="Vrije vorm: vorm 14">
              <a:extLst>
                <a:ext uri="{FF2B5EF4-FFF2-40B4-BE49-F238E27FC236}">
                  <a16:creationId xmlns:a16="http://schemas.microsoft.com/office/drawing/2014/main" id="{AEA186B0-7616-4DAA-8A00-653706C9A426}"/>
                </a:ext>
              </a:extLst>
            </p:cNvPr>
            <p:cNvSpPr/>
            <p:nvPr/>
          </p:nvSpPr>
          <p:spPr>
            <a:xfrm>
              <a:off x="4770120" y="4946141"/>
              <a:ext cx="623163" cy="595122"/>
            </a:xfrm>
            <a:custGeom>
              <a:avLst/>
              <a:gdLst>
                <a:gd name="connsiteX0" fmla="*/ 0 w 623163"/>
                <a:gd name="connsiteY0" fmla="*/ 54102 h 595122"/>
                <a:gd name="connsiteX1" fmla="*/ 0 w 623163"/>
                <a:gd name="connsiteY1" fmla="*/ 0 h 595122"/>
                <a:gd name="connsiteX2" fmla="*/ 54102 w 623163"/>
                <a:gd name="connsiteY2" fmla="*/ 0 h 595122"/>
                <a:gd name="connsiteX3" fmla="*/ 54102 w 623163"/>
                <a:gd name="connsiteY3" fmla="*/ 54102 h 595122"/>
                <a:gd name="connsiteX4" fmla="*/ 0 w 623163"/>
                <a:gd name="connsiteY4" fmla="*/ 162306 h 595122"/>
                <a:gd name="connsiteX5" fmla="*/ 0 w 623163"/>
                <a:gd name="connsiteY5" fmla="*/ 108204 h 595122"/>
                <a:gd name="connsiteX6" fmla="*/ 54102 w 623163"/>
                <a:gd name="connsiteY6" fmla="*/ 108204 h 595122"/>
                <a:gd name="connsiteX7" fmla="*/ 54102 w 623163"/>
                <a:gd name="connsiteY7" fmla="*/ 162306 h 595122"/>
                <a:gd name="connsiteX8" fmla="*/ 0 w 623163"/>
                <a:gd name="connsiteY8" fmla="*/ 270510 h 595122"/>
                <a:gd name="connsiteX9" fmla="*/ 0 w 623163"/>
                <a:gd name="connsiteY9" fmla="*/ 216408 h 595122"/>
                <a:gd name="connsiteX10" fmla="*/ 54102 w 623163"/>
                <a:gd name="connsiteY10" fmla="*/ 216408 h 595122"/>
                <a:gd name="connsiteX11" fmla="*/ 54102 w 623163"/>
                <a:gd name="connsiteY11" fmla="*/ 270510 h 595122"/>
                <a:gd name="connsiteX12" fmla="*/ 0 w 623163"/>
                <a:gd name="connsiteY12" fmla="*/ 378714 h 595122"/>
                <a:gd name="connsiteX13" fmla="*/ 0 w 623163"/>
                <a:gd name="connsiteY13" fmla="*/ 324612 h 595122"/>
                <a:gd name="connsiteX14" fmla="*/ 54102 w 623163"/>
                <a:gd name="connsiteY14" fmla="*/ 324612 h 595122"/>
                <a:gd name="connsiteX15" fmla="*/ 54102 w 623163"/>
                <a:gd name="connsiteY15" fmla="*/ 378714 h 595122"/>
                <a:gd name="connsiteX16" fmla="*/ 0 w 623163"/>
                <a:gd name="connsiteY16" fmla="*/ 486918 h 595122"/>
                <a:gd name="connsiteX17" fmla="*/ 0 w 623163"/>
                <a:gd name="connsiteY17" fmla="*/ 433578 h 595122"/>
                <a:gd name="connsiteX18" fmla="*/ 54102 w 623163"/>
                <a:gd name="connsiteY18" fmla="*/ 433578 h 595122"/>
                <a:gd name="connsiteX19" fmla="*/ 54102 w 623163"/>
                <a:gd name="connsiteY19" fmla="*/ 487680 h 595122"/>
                <a:gd name="connsiteX20" fmla="*/ 0 w 623163"/>
                <a:gd name="connsiteY20" fmla="*/ 595122 h 595122"/>
                <a:gd name="connsiteX21" fmla="*/ 0 w 623163"/>
                <a:gd name="connsiteY21" fmla="*/ 541020 h 595122"/>
                <a:gd name="connsiteX22" fmla="*/ 54102 w 623163"/>
                <a:gd name="connsiteY22" fmla="*/ 541020 h 595122"/>
                <a:gd name="connsiteX23" fmla="*/ 54102 w 623163"/>
                <a:gd name="connsiteY23" fmla="*/ 595122 h 595122"/>
                <a:gd name="connsiteX24" fmla="*/ 113690 w 623163"/>
                <a:gd name="connsiteY24" fmla="*/ 54102 h 595122"/>
                <a:gd name="connsiteX25" fmla="*/ 113690 w 623163"/>
                <a:gd name="connsiteY25" fmla="*/ 0 h 595122"/>
                <a:gd name="connsiteX26" fmla="*/ 167640 w 623163"/>
                <a:gd name="connsiteY26" fmla="*/ 0 h 595122"/>
                <a:gd name="connsiteX27" fmla="*/ 167640 w 623163"/>
                <a:gd name="connsiteY27" fmla="*/ 54102 h 595122"/>
                <a:gd name="connsiteX28" fmla="*/ 113690 w 623163"/>
                <a:gd name="connsiteY28" fmla="*/ 162306 h 595122"/>
                <a:gd name="connsiteX29" fmla="*/ 113690 w 623163"/>
                <a:gd name="connsiteY29" fmla="*/ 108204 h 595122"/>
                <a:gd name="connsiteX30" fmla="*/ 167640 w 623163"/>
                <a:gd name="connsiteY30" fmla="*/ 108204 h 595122"/>
                <a:gd name="connsiteX31" fmla="*/ 167640 w 623163"/>
                <a:gd name="connsiteY31" fmla="*/ 162306 h 595122"/>
                <a:gd name="connsiteX32" fmla="*/ 113690 w 623163"/>
                <a:gd name="connsiteY32" fmla="*/ 270510 h 595122"/>
                <a:gd name="connsiteX33" fmla="*/ 113690 w 623163"/>
                <a:gd name="connsiteY33" fmla="*/ 216408 h 595122"/>
                <a:gd name="connsiteX34" fmla="*/ 167640 w 623163"/>
                <a:gd name="connsiteY34" fmla="*/ 216408 h 595122"/>
                <a:gd name="connsiteX35" fmla="*/ 167640 w 623163"/>
                <a:gd name="connsiteY35" fmla="*/ 270510 h 595122"/>
                <a:gd name="connsiteX36" fmla="*/ 113690 w 623163"/>
                <a:gd name="connsiteY36" fmla="*/ 378714 h 595122"/>
                <a:gd name="connsiteX37" fmla="*/ 113690 w 623163"/>
                <a:gd name="connsiteY37" fmla="*/ 324612 h 595122"/>
                <a:gd name="connsiteX38" fmla="*/ 167640 w 623163"/>
                <a:gd name="connsiteY38" fmla="*/ 324612 h 595122"/>
                <a:gd name="connsiteX39" fmla="*/ 167640 w 623163"/>
                <a:gd name="connsiteY39" fmla="*/ 378714 h 595122"/>
                <a:gd name="connsiteX40" fmla="*/ 113690 w 623163"/>
                <a:gd name="connsiteY40" fmla="*/ 486918 h 595122"/>
                <a:gd name="connsiteX41" fmla="*/ 113690 w 623163"/>
                <a:gd name="connsiteY41" fmla="*/ 433578 h 595122"/>
                <a:gd name="connsiteX42" fmla="*/ 167640 w 623163"/>
                <a:gd name="connsiteY42" fmla="*/ 433578 h 595122"/>
                <a:gd name="connsiteX43" fmla="*/ 167640 w 623163"/>
                <a:gd name="connsiteY43" fmla="*/ 487680 h 595122"/>
                <a:gd name="connsiteX44" fmla="*/ 113690 w 623163"/>
                <a:gd name="connsiteY44" fmla="*/ 595122 h 595122"/>
                <a:gd name="connsiteX45" fmla="*/ 113690 w 623163"/>
                <a:gd name="connsiteY45" fmla="*/ 541020 h 595122"/>
                <a:gd name="connsiteX46" fmla="*/ 167640 w 623163"/>
                <a:gd name="connsiteY46" fmla="*/ 541020 h 595122"/>
                <a:gd name="connsiteX47" fmla="*/ 167640 w 623163"/>
                <a:gd name="connsiteY47" fmla="*/ 595122 h 595122"/>
                <a:gd name="connsiteX48" fmla="*/ 228600 w 623163"/>
                <a:gd name="connsiteY48" fmla="*/ 54102 h 595122"/>
                <a:gd name="connsiteX49" fmla="*/ 228600 w 623163"/>
                <a:gd name="connsiteY49" fmla="*/ 0 h 595122"/>
                <a:gd name="connsiteX50" fmla="*/ 282702 w 623163"/>
                <a:gd name="connsiteY50" fmla="*/ 0 h 595122"/>
                <a:gd name="connsiteX51" fmla="*/ 282702 w 623163"/>
                <a:gd name="connsiteY51" fmla="*/ 54102 h 595122"/>
                <a:gd name="connsiteX52" fmla="*/ 228600 w 623163"/>
                <a:gd name="connsiteY52" fmla="*/ 162306 h 595122"/>
                <a:gd name="connsiteX53" fmla="*/ 228600 w 623163"/>
                <a:gd name="connsiteY53" fmla="*/ 108204 h 595122"/>
                <a:gd name="connsiteX54" fmla="*/ 282702 w 623163"/>
                <a:gd name="connsiteY54" fmla="*/ 108204 h 595122"/>
                <a:gd name="connsiteX55" fmla="*/ 282702 w 623163"/>
                <a:gd name="connsiteY55" fmla="*/ 162306 h 595122"/>
                <a:gd name="connsiteX56" fmla="*/ 228600 w 623163"/>
                <a:gd name="connsiteY56" fmla="*/ 270510 h 595122"/>
                <a:gd name="connsiteX57" fmla="*/ 228600 w 623163"/>
                <a:gd name="connsiteY57" fmla="*/ 216408 h 595122"/>
                <a:gd name="connsiteX58" fmla="*/ 282702 w 623163"/>
                <a:gd name="connsiteY58" fmla="*/ 216408 h 595122"/>
                <a:gd name="connsiteX59" fmla="*/ 282702 w 623163"/>
                <a:gd name="connsiteY59" fmla="*/ 270510 h 595122"/>
                <a:gd name="connsiteX60" fmla="*/ 228600 w 623163"/>
                <a:gd name="connsiteY60" fmla="*/ 378714 h 595122"/>
                <a:gd name="connsiteX61" fmla="*/ 228600 w 623163"/>
                <a:gd name="connsiteY61" fmla="*/ 324612 h 595122"/>
                <a:gd name="connsiteX62" fmla="*/ 282702 w 623163"/>
                <a:gd name="connsiteY62" fmla="*/ 324612 h 595122"/>
                <a:gd name="connsiteX63" fmla="*/ 282702 w 623163"/>
                <a:gd name="connsiteY63" fmla="*/ 378714 h 595122"/>
                <a:gd name="connsiteX64" fmla="*/ 228600 w 623163"/>
                <a:gd name="connsiteY64" fmla="*/ 486918 h 595122"/>
                <a:gd name="connsiteX65" fmla="*/ 228600 w 623163"/>
                <a:gd name="connsiteY65" fmla="*/ 433578 h 595122"/>
                <a:gd name="connsiteX66" fmla="*/ 282702 w 623163"/>
                <a:gd name="connsiteY66" fmla="*/ 433578 h 595122"/>
                <a:gd name="connsiteX67" fmla="*/ 282702 w 623163"/>
                <a:gd name="connsiteY67" fmla="*/ 487680 h 595122"/>
                <a:gd name="connsiteX68" fmla="*/ 228600 w 623163"/>
                <a:gd name="connsiteY68" fmla="*/ 595122 h 595122"/>
                <a:gd name="connsiteX69" fmla="*/ 228600 w 623163"/>
                <a:gd name="connsiteY69" fmla="*/ 541020 h 595122"/>
                <a:gd name="connsiteX70" fmla="*/ 282702 w 623163"/>
                <a:gd name="connsiteY70" fmla="*/ 541020 h 595122"/>
                <a:gd name="connsiteX71" fmla="*/ 282702 w 623163"/>
                <a:gd name="connsiteY71" fmla="*/ 595122 h 595122"/>
                <a:gd name="connsiteX72" fmla="*/ 341528 w 623163"/>
                <a:gd name="connsiteY72" fmla="*/ 54102 h 595122"/>
                <a:gd name="connsiteX73" fmla="*/ 341528 w 623163"/>
                <a:gd name="connsiteY73" fmla="*/ 0 h 595122"/>
                <a:gd name="connsiteX74" fmla="*/ 395630 w 623163"/>
                <a:gd name="connsiteY74" fmla="*/ 0 h 595122"/>
                <a:gd name="connsiteX75" fmla="*/ 395630 w 623163"/>
                <a:gd name="connsiteY75" fmla="*/ 54102 h 595122"/>
                <a:gd name="connsiteX76" fmla="*/ 341528 w 623163"/>
                <a:gd name="connsiteY76" fmla="*/ 162306 h 595122"/>
                <a:gd name="connsiteX77" fmla="*/ 341528 w 623163"/>
                <a:gd name="connsiteY77" fmla="*/ 108204 h 595122"/>
                <a:gd name="connsiteX78" fmla="*/ 395630 w 623163"/>
                <a:gd name="connsiteY78" fmla="*/ 108204 h 595122"/>
                <a:gd name="connsiteX79" fmla="*/ 395630 w 623163"/>
                <a:gd name="connsiteY79" fmla="*/ 162306 h 595122"/>
                <a:gd name="connsiteX80" fmla="*/ 341528 w 623163"/>
                <a:gd name="connsiteY80" fmla="*/ 270510 h 595122"/>
                <a:gd name="connsiteX81" fmla="*/ 341528 w 623163"/>
                <a:gd name="connsiteY81" fmla="*/ 216408 h 595122"/>
                <a:gd name="connsiteX82" fmla="*/ 395630 w 623163"/>
                <a:gd name="connsiteY82" fmla="*/ 216408 h 595122"/>
                <a:gd name="connsiteX83" fmla="*/ 395630 w 623163"/>
                <a:gd name="connsiteY83" fmla="*/ 270510 h 595122"/>
                <a:gd name="connsiteX84" fmla="*/ 341528 w 623163"/>
                <a:gd name="connsiteY84" fmla="*/ 378714 h 595122"/>
                <a:gd name="connsiteX85" fmla="*/ 341528 w 623163"/>
                <a:gd name="connsiteY85" fmla="*/ 324612 h 595122"/>
                <a:gd name="connsiteX86" fmla="*/ 395630 w 623163"/>
                <a:gd name="connsiteY86" fmla="*/ 324612 h 595122"/>
                <a:gd name="connsiteX87" fmla="*/ 395630 w 623163"/>
                <a:gd name="connsiteY87" fmla="*/ 378714 h 595122"/>
                <a:gd name="connsiteX88" fmla="*/ 341528 w 623163"/>
                <a:gd name="connsiteY88" fmla="*/ 486918 h 595122"/>
                <a:gd name="connsiteX89" fmla="*/ 341528 w 623163"/>
                <a:gd name="connsiteY89" fmla="*/ 433578 h 595122"/>
                <a:gd name="connsiteX90" fmla="*/ 395630 w 623163"/>
                <a:gd name="connsiteY90" fmla="*/ 433578 h 595122"/>
                <a:gd name="connsiteX91" fmla="*/ 395630 w 623163"/>
                <a:gd name="connsiteY91" fmla="*/ 487680 h 595122"/>
                <a:gd name="connsiteX92" fmla="*/ 341528 w 623163"/>
                <a:gd name="connsiteY92" fmla="*/ 595122 h 595122"/>
                <a:gd name="connsiteX93" fmla="*/ 341528 w 623163"/>
                <a:gd name="connsiteY93" fmla="*/ 541020 h 595122"/>
                <a:gd name="connsiteX94" fmla="*/ 395630 w 623163"/>
                <a:gd name="connsiteY94" fmla="*/ 541020 h 595122"/>
                <a:gd name="connsiteX95" fmla="*/ 395630 w 623163"/>
                <a:gd name="connsiteY95" fmla="*/ 595122 h 595122"/>
                <a:gd name="connsiteX96" fmla="*/ 455371 w 623163"/>
                <a:gd name="connsiteY96" fmla="*/ 54102 h 595122"/>
                <a:gd name="connsiteX97" fmla="*/ 455371 w 623163"/>
                <a:gd name="connsiteY97" fmla="*/ 0 h 595122"/>
                <a:gd name="connsiteX98" fmla="*/ 509473 w 623163"/>
                <a:gd name="connsiteY98" fmla="*/ 0 h 595122"/>
                <a:gd name="connsiteX99" fmla="*/ 509473 w 623163"/>
                <a:gd name="connsiteY99" fmla="*/ 54102 h 595122"/>
                <a:gd name="connsiteX100" fmla="*/ 455371 w 623163"/>
                <a:gd name="connsiteY100" fmla="*/ 162306 h 595122"/>
                <a:gd name="connsiteX101" fmla="*/ 455371 w 623163"/>
                <a:gd name="connsiteY101" fmla="*/ 108204 h 595122"/>
                <a:gd name="connsiteX102" fmla="*/ 509473 w 623163"/>
                <a:gd name="connsiteY102" fmla="*/ 108204 h 595122"/>
                <a:gd name="connsiteX103" fmla="*/ 509473 w 623163"/>
                <a:gd name="connsiteY103" fmla="*/ 162306 h 595122"/>
                <a:gd name="connsiteX104" fmla="*/ 455371 w 623163"/>
                <a:gd name="connsiteY104" fmla="*/ 270510 h 595122"/>
                <a:gd name="connsiteX105" fmla="*/ 455371 w 623163"/>
                <a:gd name="connsiteY105" fmla="*/ 216408 h 595122"/>
                <a:gd name="connsiteX106" fmla="*/ 509473 w 623163"/>
                <a:gd name="connsiteY106" fmla="*/ 216408 h 595122"/>
                <a:gd name="connsiteX107" fmla="*/ 509473 w 623163"/>
                <a:gd name="connsiteY107" fmla="*/ 270510 h 595122"/>
                <a:gd name="connsiteX108" fmla="*/ 455371 w 623163"/>
                <a:gd name="connsiteY108" fmla="*/ 378714 h 595122"/>
                <a:gd name="connsiteX109" fmla="*/ 455371 w 623163"/>
                <a:gd name="connsiteY109" fmla="*/ 324612 h 595122"/>
                <a:gd name="connsiteX110" fmla="*/ 509473 w 623163"/>
                <a:gd name="connsiteY110" fmla="*/ 324612 h 595122"/>
                <a:gd name="connsiteX111" fmla="*/ 509473 w 623163"/>
                <a:gd name="connsiteY111" fmla="*/ 378714 h 595122"/>
                <a:gd name="connsiteX112" fmla="*/ 455371 w 623163"/>
                <a:gd name="connsiteY112" fmla="*/ 486918 h 595122"/>
                <a:gd name="connsiteX113" fmla="*/ 455371 w 623163"/>
                <a:gd name="connsiteY113" fmla="*/ 433578 h 595122"/>
                <a:gd name="connsiteX114" fmla="*/ 509473 w 623163"/>
                <a:gd name="connsiteY114" fmla="*/ 433578 h 595122"/>
                <a:gd name="connsiteX115" fmla="*/ 509473 w 623163"/>
                <a:gd name="connsiteY115" fmla="*/ 487680 h 595122"/>
                <a:gd name="connsiteX116" fmla="*/ 455371 w 623163"/>
                <a:gd name="connsiteY116" fmla="*/ 595122 h 595122"/>
                <a:gd name="connsiteX117" fmla="*/ 455371 w 623163"/>
                <a:gd name="connsiteY117" fmla="*/ 541020 h 595122"/>
                <a:gd name="connsiteX118" fmla="*/ 509473 w 623163"/>
                <a:gd name="connsiteY118" fmla="*/ 541020 h 595122"/>
                <a:gd name="connsiteX119" fmla="*/ 509473 w 623163"/>
                <a:gd name="connsiteY119" fmla="*/ 595122 h 595122"/>
                <a:gd name="connsiteX120" fmla="*/ 569062 w 623163"/>
                <a:gd name="connsiteY120" fmla="*/ 54102 h 595122"/>
                <a:gd name="connsiteX121" fmla="*/ 569062 w 623163"/>
                <a:gd name="connsiteY121" fmla="*/ 0 h 595122"/>
                <a:gd name="connsiteX122" fmla="*/ 623164 w 623163"/>
                <a:gd name="connsiteY122" fmla="*/ 0 h 595122"/>
                <a:gd name="connsiteX123" fmla="*/ 623164 w 623163"/>
                <a:gd name="connsiteY123" fmla="*/ 54102 h 595122"/>
                <a:gd name="connsiteX124" fmla="*/ 569062 w 623163"/>
                <a:gd name="connsiteY124" fmla="*/ 162306 h 595122"/>
                <a:gd name="connsiteX125" fmla="*/ 569062 w 623163"/>
                <a:gd name="connsiteY125" fmla="*/ 108204 h 595122"/>
                <a:gd name="connsiteX126" fmla="*/ 623164 w 623163"/>
                <a:gd name="connsiteY126" fmla="*/ 108204 h 595122"/>
                <a:gd name="connsiteX127" fmla="*/ 623164 w 623163"/>
                <a:gd name="connsiteY127" fmla="*/ 162306 h 595122"/>
                <a:gd name="connsiteX128" fmla="*/ 569062 w 623163"/>
                <a:gd name="connsiteY128" fmla="*/ 270510 h 595122"/>
                <a:gd name="connsiteX129" fmla="*/ 569062 w 623163"/>
                <a:gd name="connsiteY129" fmla="*/ 216408 h 595122"/>
                <a:gd name="connsiteX130" fmla="*/ 623164 w 623163"/>
                <a:gd name="connsiteY130" fmla="*/ 216408 h 595122"/>
                <a:gd name="connsiteX131" fmla="*/ 623164 w 623163"/>
                <a:gd name="connsiteY131" fmla="*/ 270510 h 595122"/>
                <a:gd name="connsiteX132" fmla="*/ 569062 w 623163"/>
                <a:gd name="connsiteY132" fmla="*/ 378714 h 595122"/>
                <a:gd name="connsiteX133" fmla="*/ 569062 w 623163"/>
                <a:gd name="connsiteY133" fmla="*/ 324612 h 595122"/>
                <a:gd name="connsiteX134" fmla="*/ 623164 w 623163"/>
                <a:gd name="connsiteY134" fmla="*/ 324612 h 595122"/>
                <a:gd name="connsiteX135" fmla="*/ 623164 w 623163"/>
                <a:gd name="connsiteY135" fmla="*/ 378714 h 595122"/>
                <a:gd name="connsiteX136" fmla="*/ 569062 w 623163"/>
                <a:gd name="connsiteY136" fmla="*/ 486918 h 595122"/>
                <a:gd name="connsiteX137" fmla="*/ 569062 w 623163"/>
                <a:gd name="connsiteY137" fmla="*/ 433578 h 595122"/>
                <a:gd name="connsiteX138" fmla="*/ 623164 w 623163"/>
                <a:gd name="connsiteY138" fmla="*/ 433578 h 595122"/>
                <a:gd name="connsiteX139" fmla="*/ 623164 w 623163"/>
                <a:gd name="connsiteY139" fmla="*/ 487680 h 595122"/>
                <a:gd name="connsiteX140" fmla="*/ 569062 w 623163"/>
                <a:gd name="connsiteY140" fmla="*/ 595122 h 595122"/>
                <a:gd name="connsiteX141" fmla="*/ 569062 w 623163"/>
                <a:gd name="connsiteY141" fmla="*/ 541020 h 595122"/>
                <a:gd name="connsiteX142" fmla="*/ 623164 w 623163"/>
                <a:gd name="connsiteY142" fmla="*/ 541020 h 595122"/>
                <a:gd name="connsiteX143" fmla="*/ 623164 w 623163"/>
                <a:gd name="connsiteY143" fmla="*/ 595122 h 59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23163" h="595122">
                  <a:moveTo>
                    <a:pt x="0" y="54102"/>
                  </a:moveTo>
                  <a:lnTo>
                    <a:pt x="0" y="0"/>
                  </a:lnTo>
                  <a:lnTo>
                    <a:pt x="54102" y="0"/>
                  </a:lnTo>
                  <a:lnTo>
                    <a:pt x="54102" y="54102"/>
                  </a:lnTo>
                  <a:close/>
                  <a:moveTo>
                    <a:pt x="0" y="162306"/>
                  </a:moveTo>
                  <a:lnTo>
                    <a:pt x="0" y="108204"/>
                  </a:lnTo>
                  <a:lnTo>
                    <a:pt x="54102" y="108204"/>
                  </a:lnTo>
                  <a:lnTo>
                    <a:pt x="54102" y="162306"/>
                  </a:lnTo>
                  <a:close/>
                  <a:moveTo>
                    <a:pt x="0" y="270510"/>
                  </a:moveTo>
                  <a:lnTo>
                    <a:pt x="0" y="216408"/>
                  </a:lnTo>
                  <a:lnTo>
                    <a:pt x="54102" y="216408"/>
                  </a:lnTo>
                  <a:lnTo>
                    <a:pt x="54102" y="270510"/>
                  </a:lnTo>
                  <a:close/>
                  <a:moveTo>
                    <a:pt x="0" y="378714"/>
                  </a:moveTo>
                  <a:lnTo>
                    <a:pt x="0" y="324612"/>
                  </a:lnTo>
                  <a:lnTo>
                    <a:pt x="54102" y="324612"/>
                  </a:lnTo>
                  <a:lnTo>
                    <a:pt x="54102" y="378714"/>
                  </a:lnTo>
                  <a:close/>
                  <a:moveTo>
                    <a:pt x="0" y="486918"/>
                  </a:moveTo>
                  <a:lnTo>
                    <a:pt x="0" y="433578"/>
                  </a:lnTo>
                  <a:lnTo>
                    <a:pt x="54102" y="433578"/>
                  </a:lnTo>
                  <a:lnTo>
                    <a:pt x="54102" y="487680"/>
                  </a:lnTo>
                  <a:close/>
                  <a:moveTo>
                    <a:pt x="0" y="595122"/>
                  </a:moveTo>
                  <a:lnTo>
                    <a:pt x="0" y="541020"/>
                  </a:lnTo>
                  <a:lnTo>
                    <a:pt x="54102" y="541020"/>
                  </a:lnTo>
                  <a:lnTo>
                    <a:pt x="54102" y="595122"/>
                  </a:lnTo>
                  <a:close/>
                  <a:moveTo>
                    <a:pt x="113690" y="54102"/>
                  </a:moveTo>
                  <a:lnTo>
                    <a:pt x="113690" y="0"/>
                  </a:lnTo>
                  <a:lnTo>
                    <a:pt x="167640" y="0"/>
                  </a:lnTo>
                  <a:lnTo>
                    <a:pt x="167640" y="54102"/>
                  </a:lnTo>
                  <a:close/>
                  <a:moveTo>
                    <a:pt x="113690" y="162306"/>
                  </a:moveTo>
                  <a:lnTo>
                    <a:pt x="113690" y="108204"/>
                  </a:lnTo>
                  <a:lnTo>
                    <a:pt x="167640" y="108204"/>
                  </a:lnTo>
                  <a:lnTo>
                    <a:pt x="167640" y="162306"/>
                  </a:lnTo>
                  <a:close/>
                  <a:moveTo>
                    <a:pt x="113690" y="270510"/>
                  </a:moveTo>
                  <a:lnTo>
                    <a:pt x="113690" y="216408"/>
                  </a:lnTo>
                  <a:lnTo>
                    <a:pt x="167640" y="216408"/>
                  </a:lnTo>
                  <a:lnTo>
                    <a:pt x="167640" y="270510"/>
                  </a:lnTo>
                  <a:close/>
                  <a:moveTo>
                    <a:pt x="113690" y="378714"/>
                  </a:moveTo>
                  <a:lnTo>
                    <a:pt x="113690" y="324612"/>
                  </a:lnTo>
                  <a:lnTo>
                    <a:pt x="167640" y="324612"/>
                  </a:lnTo>
                  <a:lnTo>
                    <a:pt x="167640" y="378714"/>
                  </a:lnTo>
                  <a:close/>
                  <a:moveTo>
                    <a:pt x="113690" y="486918"/>
                  </a:moveTo>
                  <a:lnTo>
                    <a:pt x="113690" y="433578"/>
                  </a:lnTo>
                  <a:lnTo>
                    <a:pt x="167640" y="433578"/>
                  </a:lnTo>
                  <a:lnTo>
                    <a:pt x="167640" y="487680"/>
                  </a:lnTo>
                  <a:close/>
                  <a:moveTo>
                    <a:pt x="113690" y="595122"/>
                  </a:moveTo>
                  <a:lnTo>
                    <a:pt x="113690" y="541020"/>
                  </a:lnTo>
                  <a:lnTo>
                    <a:pt x="167640" y="541020"/>
                  </a:lnTo>
                  <a:lnTo>
                    <a:pt x="167640" y="595122"/>
                  </a:lnTo>
                  <a:close/>
                  <a:moveTo>
                    <a:pt x="228600" y="54102"/>
                  </a:moveTo>
                  <a:lnTo>
                    <a:pt x="228600" y="0"/>
                  </a:lnTo>
                  <a:lnTo>
                    <a:pt x="282702" y="0"/>
                  </a:lnTo>
                  <a:lnTo>
                    <a:pt x="282702" y="54102"/>
                  </a:lnTo>
                  <a:close/>
                  <a:moveTo>
                    <a:pt x="228600" y="162306"/>
                  </a:moveTo>
                  <a:lnTo>
                    <a:pt x="228600" y="108204"/>
                  </a:lnTo>
                  <a:lnTo>
                    <a:pt x="282702" y="108204"/>
                  </a:lnTo>
                  <a:lnTo>
                    <a:pt x="282702" y="162306"/>
                  </a:lnTo>
                  <a:close/>
                  <a:moveTo>
                    <a:pt x="228600" y="270510"/>
                  </a:moveTo>
                  <a:lnTo>
                    <a:pt x="228600" y="216408"/>
                  </a:lnTo>
                  <a:lnTo>
                    <a:pt x="282702" y="216408"/>
                  </a:lnTo>
                  <a:lnTo>
                    <a:pt x="282702" y="270510"/>
                  </a:lnTo>
                  <a:close/>
                  <a:moveTo>
                    <a:pt x="228600" y="378714"/>
                  </a:moveTo>
                  <a:lnTo>
                    <a:pt x="228600" y="324612"/>
                  </a:lnTo>
                  <a:lnTo>
                    <a:pt x="282702" y="324612"/>
                  </a:lnTo>
                  <a:lnTo>
                    <a:pt x="282702" y="378714"/>
                  </a:lnTo>
                  <a:close/>
                  <a:moveTo>
                    <a:pt x="228600" y="486918"/>
                  </a:moveTo>
                  <a:lnTo>
                    <a:pt x="228600" y="433578"/>
                  </a:lnTo>
                  <a:lnTo>
                    <a:pt x="282702" y="433578"/>
                  </a:lnTo>
                  <a:lnTo>
                    <a:pt x="282702" y="487680"/>
                  </a:lnTo>
                  <a:close/>
                  <a:moveTo>
                    <a:pt x="228600" y="595122"/>
                  </a:moveTo>
                  <a:lnTo>
                    <a:pt x="228600" y="541020"/>
                  </a:lnTo>
                  <a:lnTo>
                    <a:pt x="282702" y="541020"/>
                  </a:lnTo>
                  <a:lnTo>
                    <a:pt x="282702" y="595122"/>
                  </a:lnTo>
                  <a:close/>
                  <a:moveTo>
                    <a:pt x="341528" y="54102"/>
                  </a:moveTo>
                  <a:lnTo>
                    <a:pt x="341528" y="0"/>
                  </a:lnTo>
                  <a:lnTo>
                    <a:pt x="395630" y="0"/>
                  </a:lnTo>
                  <a:lnTo>
                    <a:pt x="395630" y="54102"/>
                  </a:lnTo>
                  <a:close/>
                  <a:moveTo>
                    <a:pt x="341528" y="162306"/>
                  </a:moveTo>
                  <a:lnTo>
                    <a:pt x="341528" y="108204"/>
                  </a:lnTo>
                  <a:lnTo>
                    <a:pt x="395630" y="108204"/>
                  </a:lnTo>
                  <a:lnTo>
                    <a:pt x="395630" y="162306"/>
                  </a:lnTo>
                  <a:close/>
                  <a:moveTo>
                    <a:pt x="341528" y="270510"/>
                  </a:moveTo>
                  <a:lnTo>
                    <a:pt x="341528" y="216408"/>
                  </a:lnTo>
                  <a:lnTo>
                    <a:pt x="395630" y="216408"/>
                  </a:lnTo>
                  <a:lnTo>
                    <a:pt x="395630" y="270510"/>
                  </a:lnTo>
                  <a:close/>
                  <a:moveTo>
                    <a:pt x="341528" y="378714"/>
                  </a:moveTo>
                  <a:lnTo>
                    <a:pt x="341528" y="324612"/>
                  </a:lnTo>
                  <a:lnTo>
                    <a:pt x="395630" y="324612"/>
                  </a:lnTo>
                  <a:lnTo>
                    <a:pt x="395630" y="378714"/>
                  </a:lnTo>
                  <a:close/>
                  <a:moveTo>
                    <a:pt x="341528" y="486918"/>
                  </a:moveTo>
                  <a:lnTo>
                    <a:pt x="341528" y="433578"/>
                  </a:lnTo>
                  <a:lnTo>
                    <a:pt x="395630" y="433578"/>
                  </a:lnTo>
                  <a:lnTo>
                    <a:pt x="395630" y="487680"/>
                  </a:lnTo>
                  <a:close/>
                  <a:moveTo>
                    <a:pt x="341528" y="595122"/>
                  </a:moveTo>
                  <a:lnTo>
                    <a:pt x="341528" y="541020"/>
                  </a:lnTo>
                  <a:lnTo>
                    <a:pt x="395630" y="541020"/>
                  </a:lnTo>
                  <a:lnTo>
                    <a:pt x="395630" y="595122"/>
                  </a:lnTo>
                  <a:close/>
                  <a:moveTo>
                    <a:pt x="455371" y="54102"/>
                  </a:moveTo>
                  <a:lnTo>
                    <a:pt x="455371" y="0"/>
                  </a:lnTo>
                  <a:lnTo>
                    <a:pt x="509473" y="0"/>
                  </a:lnTo>
                  <a:lnTo>
                    <a:pt x="509473" y="54102"/>
                  </a:lnTo>
                  <a:close/>
                  <a:moveTo>
                    <a:pt x="455371" y="162306"/>
                  </a:moveTo>
                  <a:lnTo>
                    <a:pt x="455371" y="108204"/>
                  </a:lnTo>
                  <a:lnTo>
                    <a:pt x="509473" y="108204"/>
                  </a:lnTo>
                  <a:lnTo>
                    <a:pt x="509473" y="162306"/>
                  </a:lnTo>
                  <a:close/>
                  <a:moveTo>
                    <a:pt x="455371" y="270510"/>
                  </a:moveTo>
                  <a:lnTo>
                    <a:pt x="455371" y="216408"/>
                  </a:lnTo>
                  <a:lnTo>
                    <a:pt x="509473" y="216408"/>
                  </a:lnTo>
                  <a:lnTo>
                    <a:pt x="509473" y="270510"/>
                  </a:lnTo>
                  <a:close/>
                  <a:moveTo>
                    <a:pt x="455371" y="378714"/>
                  </a:moveTo>
                  <a:lnTo>
                    <a:pt x="455371" y="324612"/>
                  </a:lnTo>
                  <a:lnTo>
                    <a:pt x="509473" y="324612"/>
                  </a:lnTo>
                  <a:lnTo>
                    <a:pt x="509473" y="378714"/>
                  </a:lnTo>
                  <a:close/>
                  <a:moveTo>
                    <a:pt x="455371" y="486918"/>
                  </a:moveTo>
                  <a:lnTo>
                    <a:pt x="455371" y="433578"/>
                  </a:lnTo>
                  <a:lnTo>
                    <a:pt x="509473" y="433578"/>
                  </a:lnTo>
                  <a:lnTo>
                    <a:pt x="509473" y="487680"/>
                  </a:lnTo>
                  <a:close/>
                  <a:moveTo>
                    <a:pt x="455371" y="595122"/>
                  </a:moveTo>
                  <a:lnTo>
                    <a:pt x="455371" y="541020"/>
                  </a:lnTo>
                  <a:lnTo>
                    <a:pt x="509473" y="541020"/>
                  </a:lnTo>
                  <a:lnTo>
                    <a:pt x="509473" y="595122"/>
                  </a:lnTo>
                  <a:close/>
                  <a:moveTo>
                    <a:pt x="569062" y="54102"/>
                  </a:moveTo>
                  <a:lnTo>
                    <a:pt x="569062" y="0"/>
                  </a:lnTo>
                  <a:lnTo>
                    <a:pt x="623164" y="0"/>
                  </a:lnTo>
                  <a:lnTo>
                    <a:pt x="623164" y="54102"/>
                  </a:lnTo>
                  <a:close/>
                  <a:moveTo>
                    <a:pt x="569062" y="162306"/>
                  </a:moveTo>
                  <a:lnTo>
                    <a:pt x="569062" y="108204"/>
                  </a:lnTo>
                  <a:lnTo>
                    <a:pt x="623164" y="108204"/>
                  </a:lnTo>
                  <a:lnTo>
                    <a:pt x="623164" y="162306"/>
                  </a:lnTo>
                  <a:close/>
                  <a:moveTo>
                    <a:pt x="569062" y="270510"/>
                  </a:moveTo>
                  <a:lnTo>
                    <a:pt x="569062" y="216408"/>
                  </a:lnTo>
                  <a:lnTo>
                    <a:pt x="623164" y="216408"/>
                  </a:lnTo>
                  <a:lnTo>
                    <a:pt x="623164" y="270510"/>
                  </a:lnTo>
                  <a:close/>
                  <a:moveTo>
                    <a:pt x="569062" y="378714"/>
                  </a:moveTo>
                  <a:lnTo>
                    <a:pt x="569062" y="324612"/>
                  </a:lnTo>
                  <a:lnTo>
                    <a:pt x="623164" y="324612"/>
                  </a:lnTo>
                  <a:lnTo>
                    <a:pt x="623164" y="378714"/>
                  </a:lnTo>
                  <a:close/>
                  <a:moveTo>
                    <a:pt x="569062" y="486918"/>
                  </a:moveTo>
                  <a:lnTo>
                    <a:pt x="569062" y="433578"/>
                  </a:lnTo>
                  <a:lnTo>
                    <a:pt x="623164" y="433578"/>
                  </a:lnTo>
                  <a:lnTo>
                    <a:pt x="623164" y="487680"/>
                  </a:lnTo>
                  <a:close/>
                  <a:moveTo>
                    <a:pt x="569062" y="595122"/>
                  </a:moveTo>
                  <a:lnTo>
                    <a:pt x="569062" y="541020"/>
                  </a:lnTo>
                  <a:lnTo>
                    <a:pt x="623164" y="541020"/>
                  </a:lnTo>
                  <a:lnTo>
                    <a:pt x="623164" y="595122"/>
                  </a:lnTo>
                  <a:close/>
                </a:path>
              </a:pathLst>
            </a:custGeom>
            <a:solidFill>
              <a:srgbClr val="007BC7"/>
            </a:solidFill>
            <a:ln w="15240" cap="flat">
              <a:noFill/>
              <a:prstDash val="solid"/>
              <a:miter/>
            </a:ln>
          </p:spPr>
          <p:txBody>
            <a:bodyPr rtlCol="0" anchor="ctr"/>
            <a:lstStyle/>
            <a:p>
              <a:endParaRPr lang="nl-NL"/>
            </a:p>
          </p:txBody>
        </p:sp>
        <p:sp>
          <p:nvSpPr>
            <p:cNvPr id="18" name="Vrije vorm: vorm 17">
              <a:extLst>
                <a:ext uri="{FF2B5EF4-FFF2-40B4-BE49-F238E27FC236}">
                  <a16:creationId xmlns:a16="http://schemas.microsoft.com/office/drawing/2014/main" id="{6A611671-5F9A-4096-B07A-E32C8BE8EE71}"/>
                </a:ext>
              </a:extLst>
            </p:cNvPr>
            <p:cNvSpPr/>
            <p:nvPr/>
          </p:nvSpPr>
          <p:spPr>
            <a:xfrm>
              <a:off x="5446471" y="4946141"/>
              <a:ext cx="622706" cy="595884"/>
            </a:xfrm>
            <a:custGeom>
              <a:avLst/>
              <a:gdLst>
                <a:gd name="connsiteX0" fmla="*/ 573329 w 622706"/>
                <a:gd name="connsiteY0" fmla="*/ 0 h 595884"/>
                <a:gd name="connsiteX1" fmla="*/ 622706 w 622706"/>
                <a:gd name="connsiteY1" fmla="*/ 0 h 595884"/>
                <a:gd name="connsiteX2" fmla="*/ 622706 w 622706"/>
                <a:gd name="connsiteY2" fmla="*/ 26975 h 595884"/>
                <a:gd name="connsiteX3" fmla="*/ 55169 w 622706"/>
                <a:gd name="connsiteY3" fmla="*/ 595122 h 595884"/>
                <a:gd name="connsiteX4" fmla="*/ 305 w 622706"/>
                <a:gd name="connsiteY4" fmla="*/ 595122 h 595884"/>
                <a:gd name="connsiteX5" fmla="*/ 305 w 622706"/>
                <a:gd name="connsiteY5" fmla="*/ 572872 h 595884"/>
                <a:gd name="connsiteX6" fmla="*/ 305 w 622706"/>
                <a:gd name="connsiteY6" fmla="*/ 429616 h 595884"/>
                <a:gd name="connsiteX7" fmla="*/ 429920 w 622706"/>
                <a:gd name="connsiteY7" fmla="*/ 0 h 595884"/>
                <a:gd name="connsiteX8" fmla="*/ 506120 w 622706"/>
                <a:gd name="connsiteY8" fmla="*/ 0 h 595884"/>
                <a:gd name="connsiteX9" fmla="*/ 0 w 622706"/>
                <a:gd name="connsiteY9" fmla="*/ 505968 h 595884"/>
                <a:gd name="connsiteX10" fmla="*/ 305 w 622706"/>
                <a:gd name="connsiteY10" fmla="*/ 286360 h 595884"/>
                <a:gd name="connsiteX11" fmla="*/ 286817 w 622706"/>
                <a:gd name="connsiteY11" fmla="*/ 0 h 595884"/>
                <a:gd name="connsiteX12" fmla="*/ 363017 w 622706"/>
                <a:gd name="connsiteY12" fmla="*/ 0 h 595884"/>
                <a:gd name="connsiteX13" fmla="*/ 153 w 622706"/>
                <a:gd name="connsiteY13" fmla="*/ 362712 h 595884"/>
                <a:gd name="connsiteX14" fmla="*/ 305 w 622706"/>
                <a:gd name="connsiteY14" fmla="*/ 144018 h 595884"/>
                <a:gd name="connsiteX15" fmla="*/ 144323 w 622706"/>
                <a:gd name="connsiteY15" fmla="*/ 0 h 595884"/>
                <a:gd name="connsiteX16" fmla="*/ 220523 w 622706"/>
                <a:gd name="connsiteY16" fmla="*/ 0 h 595884"/>
                <a:gd name="connsiteX17" fmla="*/ 305 w 622706"/>
                <a:gd name="connsiteY17" fmla="*/ 220218 h 595884"/>
                <a:gd name="connsiteX18" fmla="*/ 305 w 622706"/>
                <a:gd name="connsiteY18" fmla="*/ 1524 h 595884"/>
                <a:gd name="connsiteX19" fmla="*/ 1981 w 622706"/>
                <a:gd name="connsiteY19" fmla="*/ 0 h 595884"/>
                <a:gd name="connsiteX20" fmla="*/ 78181 w 622706"/>
                <a:gd name="connsiteY20" fmla="*/ 0 h 595884"/>
                <a:gd name="connsiteX21" fmla="*/ 153 w 622706"/>
                <a:gd name="connsiteY21" fmla="*/ 77877 h 595884"/>
                <a:gd name="connsiteX22" fmla="*/ 121310 w 622706"/>
                <a:gd name="connsiteY22" fmla="*/ 595884 h 595884"/>
                <a:gd name="connsiteX23" fmla="*/ 622554 w 622706"/>
                <a:gd name="connsiteY23" fmla="*/ 94641 h 595884"/>
                <a:gd name="connsiteX24" fmla="*/ 622554 w 622706"/>
                <a:gd name="connsiteY24" fmla="*/ 170841 h 595884"/>
                <a:gd name="connsiteX25" fmla="*/ 197663 w 622706"/>
                <a:gd name="connsiteY25" fmla="*/ 595122 h 595884"/>
                <a:gd name="connsiteX26" fmla="*/ 263652 w 622706"/>
                <a:gd name="connsiteY26" fmla="*/ 595884 h 595884"/>
                <a:gd name="connsiteX27" fmla="*/ 622554 w 622706"/>
                <a:gd name="connsiteY27" fmla="*/ 236982 h 595884"/>
                <a:gd name="connsiteX28" fmla="*/ 622554 w 622706"/>
                <a:gd name="connsiteY28" fmla="*/ 313182 h 595884"/>
                <a:gd name="connsiteX29" fmla="*/ 340157 w 622706"/>
                <a:gd name="connsiteY29" fmla="*/ 595122 h 595884"/>
                <a:gd name="connsiteX30" fmla="*/ 406908 w 622706"/>
                <a:gd name="connsiteY30" fmla="*/ 595884 h 595884"/>
                <a:gd name="connsiteX31" fmla="*/ 622554 w 622706"/>
                <a:gd name="connsiteY31" fmla="*/ 380238 h 595884"/>
                <a:gd name="connsiteX32" fmla="*/ 622554 w 622706"/>
                <a:gd name="connsiteY32" fmla="*/ 456438 h 595884"/>
                <a:gd name="connsiteX33" fmla="*/ 483260 w 622706"/>
                <a:gd name="connsiteY33" fmla="*/ 595732 h 595884"/>
                <a:gd name="connsiteX34" fmla="*/ 622554 w 622706"/>
                <a:gd name="connsiteY34" fmla="*/ 595884 h 595884"/>
                <a:gd name="connsiteX35" fmla="*/ 546354 w 622706"/>
                <a:gd name="connsiteY35" fmla="*/ 595884 h 595884"/>
                <a:gd name="connsiteX36" fmla="*/ 622554 w 622706"/>
                <a:gd name="connsiteY36" fmla="*/ 519684 h 595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706" h="595884">
                  <a:moveTo>
                    <a:pt x="573329" y="0"/>
                  </a:moveTo>
                  <a:lnTo>
                    <a:pt x="622706" y="0"/>
                  </a:lnTo>
                  <a:lnTo>
                    <a:pt x="622706" y="26975"/>
                  </a:lnTo>
                  <a:lnTo>
                    <a:pt x="55169" y="595122"/>
                  </a:lnTo>
                  <a:lnTo>
                    <a:pt x="305" y="595122"/>
                  </a:lnTo>
                  <a:lnTo>
                    <a:pt x="305" y="572872"/>
                  </a:lnTo>
                  <a:close/>
                  <a:moveTo>
                    <a:pt x="305" y="429616"/>
                  </a:moveTo>
                  <a:lnTo>
                    <a:pt x="429920" y="0"/>
                  </a:lnTo>
                  <a:lnTo>
                    <a:pt x="506120" y="0"/>
                  </a:lnTo>
                  <a:lnTo>
                    <a:pt x="0" y="505968"/>
                  </a:lnTo>
                  <a:close/>
                  <a:moveTo>
                    <a:pt x="305" y="286360"/>
                  </a:moveTo>
                  <a:lnTo>
                    <a:pt x="286817" y="0"/>
                  </a:lnTo>
                  <a:lnTo>
                    <a:pt x="363017" y="0"/>
                  </a:lnTo>
                  <a:lnTo>
                    <a:pt x="153" y="362712"/>
                  </a:lnTo>
                  <a:close/>
                  <a:moveTo>
                    <a:pt x="305" y="144018"/>
                  </a:moveTo>
                  <a:lnTo>
                    <a:pt x="144323" y="0"/>
                  </a:lnTo>
                  <a:lnTo>
                    <a:pt x="220523" y="0"/>
                  </a:lnTo>
                  <a:lnTo>
                    <a:pt x="305" y="220218"/>
                  </a:lnTo>
                  <a:close/>
                  <a:moveTo>
                    <a:pt x="305" y="1524"/>
                  </a:moveTo>
                  <a:lnTo>
                    <a:pt x="1981" y="0"/>
                  </a:lnTo>
                  <a:lnTo>
                    <a:pt x="78181" y="0"/>
                  </a:lnTo>
                  <a:lnTo>
                    <a:pt x="153" y="77877"/>
                  </a:lnTo>
                  <a:close/>
                  <a:moveTo>
                    <a:pt x="121310" y="595884"/>
                  </a:moveTo>
                  <a:lnTo>
                    <a:pt x="622554" y="94641"/>
                  </a:lnTo>
                  <a:lnTo>
                    <a:pt x="622554" y="170841"/>
                  </a:lnTo>
                  <a:lnTo>
                    <a:pt x="197663" y="595122"/>
                  </a:lnTo>
                  <a:close/>
                  <a:moveTo>
                    <a:pt x="263652" y="595884"/>
                  </a:moveTo>
                  <a:lnTo>
                    <a:pt x="622554" y="236982"/>
                  </a:lnTo>
                  <a:lnTo>
                    <a:pt x="622554" y="313182"/>
                  </a:lnTo>
                  <a:lnTo>
                    <a:pt x="340157" y="595122"/>
                  </a:lnTo>
                  <a:close/>
                  <a:moveTo>
                    <a:pt x="406908" y="595884"/>
                  </a:moveTo>
                  <a:lnTo>
                    <a:pt x="622554" y="380238"/>
                  </a:lnTo>
                  <a:lnTo>
                    <a:pt x="622554" y="456438"/>
                  </a:lnTo>
                  <a:lnTo>
                    <a:pt x="483260" y="595732"/>
                  </a:lnTo>
                  <a:close/>
                  <a:moveTo>
                    <a:pt x="622554" y="595884"/>
                  </a:moveTo>
                  <a:lnTo>
                    <a:pt x="546354" y="595884"/>
                  </a:lnTo>
                  <a:lnTo>
                    <a:pt x="622554" y="519684"/>
                  </a:lnTo>
                  <a:close/>
                </a:path>
              </a:pathLst>
            </a:custGeom>
            <a:solidFill>
              <a:srgbClr val="FFB612"/>
            </a:solidFill>
            <a:ln w="15240" cap="flat">
              <a:noFill/>
              <a:prstDash val="solid"/>
              <a:miter/>
            </a:ln>
          </p:spPr>
          <p:txBody>
            <a:bodyPr rtlCol="0" anchor="ctr"/>
            <a:lstStyle/>
            <a:p>
              <a:endParaRPr lang="nl-NL"/>
            </a:p>
          </p:txBody>
        </p:sp>
        <p:sp>
          <p:nvSpPr>
            <p:cNvPr id="19" name="Vrije vorm: vorm 18">
              <a:extLst>
                <a:ext uri="{FF2B5EF4-FFF2-40B4-BE49-F238E27FC236}">
                  <a16:creationId xmlns:a16="http://schemas.microsoft.com/office/drawing/2014/main" id="{DCB21DC5-778C-4175-BDC9-6144619F1B8B}"/>
                </a:ext>
              </a:extLst>
            </p:cNvPr>
            <p:cNvSpPr/>
            <p:nvPr/>
          </p:nvSpPr>
          <p:spPr>
            <a:xfrm>
              <a:off x="6122365" y="4946141"/>
              <a:ext cx="622553" cy="595122"/>
            </a:xfrm>
            <a:custGeom>
              <a:avLst/>
              <a:gdLst>
                <a:gd name="connsiteX0" fmla="*/ 517855 w 622553"/>
                <a:gd name="connsiteY0" fmla="*/ 95403 h 595122"/>
                <a:gd name="connsiteX1" fmla="*/ 449427 w 622553"/>
                <a:gd name="connsiteY1" fmla="*/ 69190 h 595122"/>
                <a:gd name="connsiteX2" fmla="*/ 438759 w 622553"/>
                <a:gd name="connsiteY2" fmla="*/ 60808 h 595122"/>
                <a:gd name="connsiteX3" fmla="*/ 428701 w 622553"/>
                <a:gd name="connsiteY3" fmla="*/ 56084 h 595122"/>
                <a:gd name="connsiteX4" fmla="*/ 414376 w 622553"/>
                <a:gd name="connsiteY4" fmla="*/ 54102 h 595122"/>
                <a:gd name="connsiteX5" fmla="*/ 396545 w 622553"/>
                <a:gd name="connsiteY5" fmla="*/ 57303 h 595122"/>
                <a:gd name="connsiteX6" fmla="*/ 379476 w 622553"/>
                <a:gd name="connsiteY6" fmla="*/ 69190 h 595122"/>
                <a:gd name="connsiteX7" fmla="*/ 242316 w 622553"/>
                <a:gd name="connsiteY7" fmla="*/ 69190 h 595122"/>
                <a:gd name="connsiteX8" fmla="*/ 231496 w 622553"/>
                <a:gd name="connsiteY8" fmla="*/ 60808 h 595122"/>
                <a:gd name="connsiteX9" fmla="*/ 221589 w 622553"/>
                <a:gd name="connsiteY9" fmla="*/ 56084 h 595122"/>
                <a:gd name="connsiteX10" fmla="*/ 207264 w 622553"/>
                <a:gd name="connsiteY10" fmla="*/ 54102 h 595122"/>
                <a:gd name="connsiteX11" fmla="*/ 193396 w 622553"/>
                <a:gd name="connsiteY11" fmla="*/ 56084 h 595122"/>
                <a:gd name="connsiteX12" fmla="*/ 183337 w 622553"/>
                <a:gd name="connsiteY12" fmla="*/ 60808 h 595122"/>
                <a:gd name="connsiteX13" fmla="*/ 172212 w 622553"/>
                <a:gd name="connsiteY13" fmla="*/ 69190 h 595122"/>
                <a:gd name="connsiteX14" fmla="*/ 35052 w 622553"/>
                <a:gd name="connsiteY14" fmla="*/ 69190 h 595122"/>
                <a:gd name="connsiteX15" fmla="*/ 24384 w 622553"/>
                <a:gd name="connsiteY15" fmla="*/ 60808 h 595122"/>
                <a:gd name="connsiteX16" fmla="*/ 14326 w 622553"/>
                <a:gd name="connsiteY16" fmla="*/ 56084 h 595122"/>
                <a:gd name="connsiteX17" fmla="*/ 0 w 622553"/>
                <a:gd name="connsiteY17" fmla="*/ 54102 h 595122"/>
                <a:gd name="connsiteX18" fmla="*/ 0 w 622553"/>
                <a:gd name="connsiteY18" fmla="*/ 0 h 595122"/>
                <a:gd name="connsiteX19" fmla="*/ 69342 w 622553"/>
                <a:gd name="connsiteY19" fmla="*/ 26975 h 595122"/>
                <a:gd name="connsiteX20" fmla="*/ 80010 w 622553"/>
                <a:gd name="connsiteY20" fmla="*/ 34900 h 595122"/>
                <a:gd name="connsiteX21" fmla="*/ 89916 w 622553"/>
                <a:gd name="connsiteY21" fmla="*/ 39319 h 595122"/>
                <a:gd name="connsiteX22" fmla="*/ 104242 w 622553"/>
                <a:gd name="connsiteY22" fmla="*/ 41301 h 595122"/>
                <a:gd name="connsiteX23" fmla="*/ 122225 w 622553"/>
                <a:gd name="connsiteY23" fmla="*/ 38100 h 595122"/>
                <a:gd name="connsiteX24" fmla="*/ 139293 w 622553"/>
                <a:gd name="connsiteY24" fmla="*/ 26975 h 595122"/>
                <a:gd name="connsiteX25" fmla="*/ 276453 w 622553"/>
                <a:gd name="connsiteY25" fmla="*/ 26975 h 595122"/>
                <a:gd name="connsiteX26" fmla="*/ 287274 w 622553"/>
                <a:gd name="connsiteY26" fmla="*/ 34900 h 595122"/>
                <a:gd name="connsiteX27" fmla="*/ 297180 w 622553"/>
                <a:gd name="connsiteY27" fmla="*/ 39319 h 595122"/>
                <a:gd name="connsiteX28" fmla="*/ 311506 w 622553"/>
                <a:gd name="connsiteY28" fmla="*/ 41301 h 595122"/>
                <a:gd name="connsiteX29" fmla="*/ 329336 w 622553"/>
                <a:gd name="connsiteY29" fmla="*/ 38100 h 595122"/>
                <a:gd name="connsiteX30" fmla="*/ 346557 w 622553"/>
                <a:gd name="connsiteY30" fmla="*/ 26975 h 595122"/>
                <a:gd name="connsiteX31" fmla="*/ 415290 w 622553"/>
                <a:gd name="connsiteY31" fmla="*/ 0 h 595122"/>
                <a:gd name="connsiteX32" fmla="*/ 483260 w 622553"/>
                <a:gd name="connsiteY32" fmla="*/ 26975 h 595122"/>
                <a:gd name="connsiteX33" fmla="*/ 494843 w 622553"/>
                <a:gd name="connsiteY33" fmla="*/ 34900 h 595122"/>
                <a:gd name="connsiteX34" fmla="*/ 504749 w 622553"/>
                <a:gd name="connsiteY34" fmla="*/ 39319 h 595122"/>
                <a:gd name="connsiteX35" fmla="*/ 518312 w 622553"/>
                <a:gd name="connsiteY35" fmla="*/ 41301 h 595122"/>
                <a:gd name="connsiteX36" fmla="*/ 536600 w 622553"/>
                <a:gd name="connsiteY36" fmla="*/ 38100 h 595122"/>
                <a:gd name="connsiteX37" fmla="*/ 553364 w 622553"/>
                <a:gd name="connsiteY37" fmla="*/ 26975 h 595122"/>
                <a:gd name="connsiteX38" fmla="*/ 622554 w 622553"/>
                <a:gd name="connsiteY38" fmla="*/ 0 h 595122"/>
                <a:gd name="connsiteX39" fmla="*/ 622554 w 622553"/>
                <a:gd name="connsiteY39" fmla="*/ 54102 h 595122"/>
                <a:gd name="connsiteX40" fmla="*/ 611886 w 622553"/>
                <a:gd name="connsiteY40" fmla="*/ 54102 h 595122"/>
                <a:gd name="connsiteX41" fmla="*/ 603046 w 622553"/>
                <a:gd name="connsiteY41" fmla="*/ 57303 h 595122"/>
                <a:gd name="connsiteX42" fmla="*/ 595884 w 622553"/>
                <a:gd name="connsiteY42" fmla="*/ 61722 h 595122"/>
                <a:gd name="connsiteX43" fmla="*/ 587502 w 622553"/>
                <a:gd name="connsiteY43" fmla="*/ 68428 h 595122"/>
                <a:gd name="connsiteX44" fmla="*/ 570890 w 622553"/>
                <a:gd name="connsiteY44" fmla="*/ 80772 h 595122"/>
                <a:gd name="connsiteX45" fmla="*/ 549706 w 622553"/>
                <a:gd name="connsiteY45" fmla="*/ 89916 h 595122"/>
                <a:gd name="connsiteX46" fmla="*/ 517855 w 622553"/>
                <a:gd name="connsiteY46" fmla="*/ 95403 h 595122"/>
                <a:gd name="connsiteX47" fmla="*/ 519074 w 622553"/>
                <a:gd name="connsiteY47" fmla="*/ 220371 h 595122"/>
                <a:gd name="connsiteX48" fmla="*/ 450189 w 622553"/>
                <a:gd name="connsiteY48" fmla="*/ 194158 h 595122"/>
                <a:gd name="connsiteX49" fmla="*/ 439522 w 622553"/>
                <a:gd name="connsiteY49" fmla="*/ 185776 h 595122"/>
                <a:gd name="connsiteX50" fmla="*/ 429616 w 622553"/>
                <a:gd name="connsiteY50" fmla="*/ 180899 h 595122"/>
                <a:gd name="connsiteX51" fmla="*/ 415290 w 622553"/>
                <a:gd name="connsiteY51" fmla="*/ 178918 h 595122"/>
                <a:gd name="connsiteX52" fmla="*/ 397306 w 622553"/>
                <a:gd name="connsiteY52" fmla="*/ 182118 h 595122"/>
                <a:gd name="connsiteX53" fmla="*/ 380238 w 622553"/>
                <a:gd name="connsiteY53" fmla="*/ 194158 h 595122"/>
                <a:gd name="connsiteX54" fmla="*/ 243078 w 622553"/>
                <a:gd name="connsiteY54" fmla="*/ 194158 h 595122"/>
                <a:gd name="connsiteX55" fmla="*/ 235458 w 622553"/>
                <a:gd name="connsiteY55" fmla="*/ 187300 h 595122"/>
                <a:gd name="connsiteX56" fmla="*/ 227990 w 622553"/>
                <a:gd name="connsiteY56" fmla="*/ 183033 h 595122"/>
                <a:gd name="connsiteX57" fmla="*/ 218846 w 622553"/>
                <a:gd name="connsiteY57" fmla="*/ 179832 h 595122"/>
                <a:gd name="connsiteX58" fmla="*/ 208026 w 622553"/>
                <a:gd name="connsiteY58" fmla="*/ 178918 h 595122"/>
                <a:gd name="connsiteX59" fmla="*/ 190195 w 622553"/>
                <a:gd name="connsiteY59" fmla="*/ 182118 h 595122"/>
                <a:gd name="connsiteX60" fmla="*/ 172974 w 622553"/>
                <a:gd name="connsiteY60" fmla="*/ 194158 h 595122"/>
                <a:gd name="connsiteX61" fmla="*/ 35814 w 622553"/>
                <a:gd name="connsiteY61" fmla="*/ 194158 h 595122"/>
                <a:gd name="connsiteX62" fmla="*/ 24536 w 622553"/>
                <a:gd name="connsiteY62" fmla="*/ 185776 h 595122"/>
                <a:gd name="connsiteX63" fmla="*/ 14173 w 622553"/>
                <a:gd name="connsiteY63" fmla="*/ 180899 h 595122"/>
                <a:gd name="connsiteX64" fmla="*/ 762 w 622553"/>
                <a:gd name="connsiteY64" fmla="*/ 178918 h 595122"/>
                <a:gd name="connsiteX65" fmla="*/ 762 w 622553"/>
                <a:gd name="connsiteY65" fmla="*/ 124816 h 595122"/>
                <a:gd name="connsiteX66" fmla="*/ 69189 w 622553"/>
                <a:gd name="connsiteY66" fmla="*/ 151943 h 595122"/>
                <a:gd name="connsiteX67" fmla="*/ 77572 w 622553"/>
                <a:gd name="connsiteY67" fmla="*/ 157887 h 595122"/>
                <a:gd name="connsiteX68" fmla="*/ 84734 w 622553"/>
                <a:gd name="connsiteY68" fmla="*/ 162306 h 595122"/>
                <a:gd name="connsiteX69" fmla="*/ 93421 w 622553"/>
                <a:gd name="connsiteY69" fmla="*/ 165507 h 595122"/>
                <a:gd name="connsiteX70" fmla="*/ 104089 w 622553"/>
                <a:gd name="connsiteY70" fmla="*/ 165507 h 595122"/>
                <a:gd name="connsiteX71" fmla="*/ 122072 w 622553"/>
                <a:gd name="connsiteY71" fmla="*/ 162306 h 595122"/>
                <a:gd name="connsiteX72" fmla="*/ 139141 w 622553"/>
                <a:gd name="connsiteY72" fmla="*/ 151181 h 595122"/>
                <a:gd name="connsiteX73" fmla="*/ 276301 w 622553"/>
                <a:gd name="connsiteY73" fmla="*/ 151181 h 595122"/>
                <a:gd name="connsiteX74" fmla="*/ 287122 w 622553"/>
                <a:gd name="connsiteY74" fmla="*/ 159106 h 595122"/>
                <a:gd name="connsiteX75" fmla="*/ 297027 w 622553"/>
                <a:gd name="connsiteY75" fmla="*/ 163525 h 595122"/>
                <a:gd name="connsiteX76" fmla="*/ 311353 w 622553"/>
                <a:gd name="connsiteY76" fmla="*/ 165507 h 595122"/>
                <a:gd name="connsiteX77" fmla="*/ 325222 w 622553"/>
                <a:gd name="connsiteY77" fmla="*/ 163525 h 595122"/>
                <a:gd name="connsiteX78" fmla="*/ 335280 w 622553"/>
                <a:gd name="connsiteY78" fmla="*/ 159106 h 595122"/>
                <a:gd name="connsiteX79" fmla="*/ 346405 w 622553"/>
                <a:gd name="connsiteY79" fmla="*/ 151181 h 595122"/>
                <a:gd name="connsiteX80" fmla="*/ 483565 w 622553"/>
                <a:gd name="connsiteY80" fmla="*/ 151181 h 595122"/>
                <a:gd name="connsiteX81" fmla="*/ 494233 w 622553"/>
                <a:gd name="connsiteY81" fmla="*/ 159106 h 595122"/>
                <a:gd name="connsiteX82" fmla="*/ 504292 w 622553"/>
                <a:gd name="connsiteY82" fmla="*/ 163525 h 595122"/>
                <a:gd name="connsiteX83" fmla="*/ 518617 w 622553"/>
                <a:gd name="connsiteY83" fmla="*/ 165507 h 595122"/>
                <a:gd name="connsiteX84" fmla="*/ 536448 w 622553"/>
                <a:gd name="connsiteY84" fmla="*/ 162306 h 595122"/>
                <a:gd name="connsiteX85" fmla="*/ 553516 w 622553"/>
                <a:gd name="connsiteY85" fmla="*/ 151181 h 595122"/>
                <a:gd name="connsiteX86" fmla="*/ 621944 w 622553"/>
                <a:gd name="connsiteY86" fmla="*/ 124054 h 595122"/>
                <a:gd name="connsiteX87" fmla="*/ 621944 w 622553"/>
                <a:gd name="connsiteY87" fmla="*/ 178156 h 595122"/>
                <a:gd name="connsiteX88" fmla="*/ 604113 w 622553"/>
                <a:gd name="connsiteY88" fmla="*/ 181356 h 595122"/>
                <a:gd name="connsiteX89" fmla="*/ 587045 w 622553"/>
                <a:gd name="connsiteY89" fmla="*/ 193396 h 595122"/>
                <a:gd name="connsiteX90" fmla="*/ 519074 w 622553"/>
                <a:gd name="connsiteY90" fmla="*/ 220218 h 595122"/>
                <a:gd name="connsiteX91" fmla="*/ 519074 w 622553"/>
                <a:gd name="connsiteY91" fmla="*/ 345339 h 595122"/>
                <a:gd name="connsiteX92" fmla="*/ 450189 w 622553"/>
                <a:gd name="connsiteY92" fmla="*/ 318974 h 595122"/>
                <a:gd name="connsiteX93" fmla="*/ 439522 w 622553"/>
                <a:gd name="connsiteY93" fmla="*/ 310287 h 595122"/>
                <a:gd name="connsiteX94" fmla="*/ 429616 w 622553"/>
                <a:gd name="connsiteY94" fmla="*/ 305867 h 595122"/>
                <a:gd name="connsiteX95" fmla="*/ 415290 w 622553"/>
                <a:gd name="connsiteY95" fmla="*/ 303886 h 595122"/>
                <a:gd name="connsiteX96" fmla="*/ 401269 w 622553"/>
                <a:gd name="connsiteY96" fmla="*/ 305867 h 595122"/>
                <a:gd name="connsiteX97" fmla="*/ 391363 w 622553"/>
                <a:gd name="connsiteY97" fmla="*/ 310287 h 595122"/>
                <a:gd name="connsiteX98" fmla="*/ 380238 w 622553"/>
                <a:gd name="connsiteY98" fmla="*/ 318974 h 595122"/>
                <a:gd name="connsiteX99" fmla="*/ 243078 w 622553"/>
                <a:gd name="connsiteY99" fmla="*/ 318974 h 595122"/>
                <a:gd name="connsiteX100" fmla="*/ 232257 w 622553"/>
                <a:gd name="connsiteY100" fmla="*/ 310287 h 595122"/>
                <a:gd name="connsiteX101" fmla="*/ 222352 w 622553"/>
                <a:gd name="connsiteY101" fmla="*/ 305867 h 595122"/>
                <a:gd name="connsiteX102" fmla="*/ 208483 w 622553"/>
                <a:gd name="connsiteY102" fmla="*/ 303886 h 595122"/>
                <a:gd name="connsiteX103" fmla="*/ 194462 w 622553"/>
                <a:gd name="connsiteY103" fmla="*/ 305867 h 595122"/>
                <a:gd name="connsiteX104" fmla="*/ 184252 w 622553"/>
                <a:gd name="connsiteY104" fmla="*/ 310287 h 595122"/>
                <a:gd name="connsiteX105" fmla="*/ 172974 w 622553"/>
                <a:gd name="connsiteY105" fmla="*/ 318974 h 595122"/>
                <a:gd name="connsiteX106" fmla="*/ 35814 w 622553"/>
                <a:gd name="connsiteY106" fmla="*/ 318974 h 595122"/>
                <a:gd name="connsiteX107" fmla="*/ 24536 w 622553"/>
                <a:gd name="connsiteY107" fmla="*/ 310287 h 595122"/>
                <a:gd name="connsiteX108" fmla="*/ 14173 w 622553"/>
                <a:gd name="connsiteY108" fmla="*/ 305867 h 595122"/>
                <a:gd name="connsiteX109" fmla="*/ 762 w 622553"/>
                <a:gd name="connsiteY109" fmla="*/ 303886 h 595122"/>
                <a:gd name="connsiteX110" fmla="*/ 762 w 622553"/>
                <a:gd name="connsiteY110" fmla="*/ 249784 h 595122"/>
                <a:gd name="connsiteX111" fmla="*/ 69189 w 622553"/>
                <a:gd name="connsiteY111" fmla="*/ 276911 h 595122"/>
                <a:gd name="connsiteX112" fmla="*/ 79857 w 622553"/>
                <a:gd name="connsiteY112" fmla="*/ 284836 h 595122"/>
                <a:gd name="connsiteX113" fmla="*/ 89763 w 622553"/>
                <a:gd name="connsiteY113" fmla="*/ 289103 h 595122"/>
                <a:gd name="connsiteX114" fmla="*/ 104089 w 622553"/>
                <a:gd name="connsiteY114" fmla="*/ 291237 h 595122"/>
                <a:gd name="connsiteX115" fmla="*/ 118415 w 622553"/>
                <a:gd name="connsiteY115" fmla="*/ 289103 h 595122"/>
                <a:gd name="connsiteX116" fmla="*/ 128473 w 622553"/>
                <a:gd name="connsiteY116" fmla="*/ 284836 h 595122"/>
                <a:gd name="connsiteX117" fmla="*/ 139141 w 622553"/>
                <a:gd name="connsiteY117" fmla="*/ 276911 h 595122"/>
                <a:gd name="connsiteX118" fmla="*/ 276301 w 622553"/>
                <a:gd name="connsiteY118" fmla="*/ 276911 h 595122"/>
                <a:gd name="connsiteX119" fmla="*/ 287122 w 622553"/>
                <a:gd name="connsiteY119" fmla="*/ 284836 h 595122"/>
                <a:gd name="connsiteX120" fmla="*/ 297027 w 622553"/>
                <a:gd name="connsiteY120" fmla="*/ 289103 h 595122"/>
                <a:gd name="connsiteX121" fmla="*/ 311353 w 622553"/>
                <a:gd name="connsiteY121" fmla="*/ 291237 h 595122"/>
                <a:gd name="connsiteX122" fmla="*/ 325222 w 622553"/>
                <a:gd name="connsiteY122" fmla="*/ 289103 h 595122"/>
                <a:gd name="connsiteX123" fmla="*/ 335280 w 622553"/>
                <a:gd name="connsiteY123" fmla="*/ 284836 h 595122"/>
                <a:gd name="connsiteX124" fmla="*/ 346405 w 622553"/>
                <a:gd name="connsiteY124" fmla="*/ 276911 h 595122"/>
                <a:gd name="connsiteX125" fmla="*/ 483565 w 622553"/>
                <a:gd name="connsiteY125" fmla="*/ 276911 h 595122"/>
                <a:gd name="connsiteX126" fmla="*/ 494233 w 622553"/>
                <a:gd name="connsiteY126" fmla="*/ 284836 h 595122"/>
                <a:gd name="connsiteX127" fmla="*/ 504292 w 622553"/>
                <a:gd name="connsiteY127" fmla="*/ 289103 h 595122"/>
                <a:gd name="connsiteX128" fmla="*/ 518617 w 622553"/>
                <a:gd name="connsiteY128" fmla="*/ 291237 h 595122"/>
                <a:gd name="connsiteX129" fmla="*/ 528980 w 622553"/>
                <a:gd name="connsiteY129" fmla="*/ 290322 h 595122"/>
                <a:gd name="connsiteX130" fmla="*/ 537972 w 622553"/>
                <a:gd name="connsiteY130" fmla="*/ 287122 h 595122"/>
                <a:gd name="connsiteX131" fmla="*/ 545287 w 622553"/>
                <a:gd name="connsiteY131" fmla="*/ 282854 h 595122"/>
                <a:gd name="connsiteX132" fmla="*/ 553516 w 622553"/>
                <a:gd name="connsiteY132" fmla="*/ 276911 h 595122"/>
                <a:gd name="connsiteX133" fmla="*/ 621944 w 622553"/>
                <a:gd name="connsiteY133" fmla="*/ 249784 h 595122"/>
                <a:gd name="connsiteX134" fmla="*/ 621944 w 622553"/>
                <a:gd name="connsiteY134" fmla="*/ 303886 h 595122"/>
                <a:gd name="connsiteX135" fmla="*/ 607619 w 622553"/>
                <a:gd name="connsiteY135" fmla="*/ 305867 h 595122"/>
                <a:gd name="connsiteX136" fmla="*/ 597713 w 622553"/>
                <a:gd name="connsiteY136" fmla="*/ 310287 h 595122"/>
                <a:gd name="connsiteX137" fmla="*/ 587045 w 622553"/>
                <a:gd name="connsiteY137" fmla="*/ 318974 h 595122"/>
                <a:gd name="connsiteX138" fmla="*/ 519074 w 622553"/>
                <a:gd name="connsiteY138" fmla="*/ 345339 h 595122"/>
                <a:gd name="connsiteX139" fmla="*/ 519074 w 622553"/>
                <a:gd name="connsiteY139" fmla="*/ 470154 h 595122"/>
                <a:gd name="connsiteX140" fmla="*/ 449732 w 622553"/>
                <a:gd name="connsiteY140" fmla="*/ 443941 h 595122"/>
                <a:gd name="connsiteX141" fmla="*/ 439064 w 622553"/>
                <a:gd name="connsiteY141" fmla="*/ 435102 h 595122"/>
                <a:gd name="connsiteX142" fmla="*/ 429158 w 622553"/>
                <a:gd name="connsiteY142" fmla="*/ 430835 h 595122"/>
                <a:gd name="connsiteX143" fmla="*/ 414833 w 622553"/>
                <a:gd name="connsiteY143" fmla="*/ 428854 h 595122"/>
                <a:gd name="connsiteX144" fmla="*/ 396849 w 622553"/>
                <a:gd name="connsiteY144" fmla="*/ 432054 h 595122"/>
                <a:gd name="connsiteX145" fmla="*/ 379781 w 622553"/>
                <a:gd name="connsiteY145" fmla="*/ 443941 h 595122"/>
                <a:gd name="connsiteX146" fmla="*/ 242621 w 622553"/>
                <a:gd name="connsiteY146" fmla="*/ 443941 h 595122"/>
                <a:gd name="connsiteX147" fmla="*/ 231800 w 622553"/>
                <a:gd name="connsiteY147" fmla="*/ 435102 h 595122"/>
                <a:gd name="connsiteX148" fmla="*/ 221894 w 622553"/>
                <a:gd name="connsiteY148" fmla="*/ 430835 h 595122"/>
                <a:gd name="connsiteX149" fmla="*/ 207569 w 622553"/>
                <a:gd name="connsiteY149" fmla="*/ 428854 h 595122"/>
                <a:gd name="connsiteX150" fmla="*/ 189738 w 622553"/>
                <a:gd name="connsiteY150" fmla="*/ 432054 h 595122"/>
                <a:gd name="connsiteX151" fmla="*/ 172516 w 622553"/>
                <a:gd name="connsiteY151" fmla="*/ 443941 h 595122"/>
                <a:gd name="connsiteX152" fmla="*/ 35356 w 622553"/>
                <a:gd name="connsiteY152" fmla="*/ 443941 h 595122"/>
                <a:gd name="connsiteX153" fmla="*/ 24079 w 622553"/>
                <a:gd name="connsiteY153" fmla="*/ 435102 h 595122"/>
                <a:gd name="connsiteX154" fmla="*/ 13716 w 622553"/>
                <a:gd name="connsiteY154" fmla="*/ 430835 h 595122"/>
                <a:gd name="connsiteX155" fmla="*/ 305 w 622553"/>
                <a:gd name="connsiteY155" fmla="*/ 428854 h 595122"/>
                <a:gd name="connsiteX156" fmla="*/ 305 w 622553"/>
                <a:gd name="connsiteY156" fmla="*/ 374752 h 595122"/>
                <a:gd name="connsiteX157" fmla="*/ 68732 w 622553"/>
                <a:gd name="connsiteY157" fmla="*/ 400964 h 595122"/>
                <a:gd name="connsiteX158" fmla="*/ 79400 w 622553"/>
                <a:gd name="connsiteY158" fmla="*/ 409651 h 595122"/>
                <a:gd name="connsiteX159" fmla="*/ 89306 w 622553"/>
                <a:gd name="connsiteY159" fmla="*/ 414071 h 595122"/>
                <a:gd name="connsiteX160" fmla="*/ 103632 w 622553"/>
                <a:gd name="connsiteY160" fmla="*/ 416052 h 595122"/>
                <a:gd name="connsiteX161" fmla="*/ 121615 w 622553"/>
                <a:gd name="connsiteY161" fmla="*/ 412852 h 595122"/>
                <a:gd name="connsiteX162" fmla="*/ 138684 w 622553"/>
                <a:gd name="connsiteY162" fmla="*/ 400964 h 595122"/>
                <a:gd name="connsiteX163" fmla="*/ 275844 w 622553"/>
                <a:gd name="connsiteY163" fmla="*/ 400964 h 595122"/>
                <a:gd name="connsiteX164" fmla="*/ 286664 w 622553"/>
                <a:gd name="connsiteY164" fmla="*/ 409651 h 595122"/>
                <a:gd name="connsiteX165" fmla="*/ 296570 w 622553"/>
                <a:gd name="connsiteY165" fmla="*/ 414071 h 595122"/>
                <a:gd name="connsiteX166" fmla="*/ 310896 w 622553"/>
                <a:gd name="connsiteY166" fmla="*/ 416052 h 595122"/>
                <a:gd name="connsiteX167" fmla="*/ 328879 w 622553"/>
                <a:gd name="connsiteY167" fmla="*/ 412852 h 595122"/>
                <a:gd name="connsiteX168" fmla="*/ 345948 w 622553"/>
                <a:gd name="connsiteY168" fmla="*/ 400964 h 595122"/>
                <a:gd name="connsiteX169" fmla="*/ 483108 w 622553"/>
                <a:gd name="connsiteY169" fmla="*/ 400964 h 595122"/>
                <a:gd name="connsiteX170" fmla="*/ 493776 w 622553"/>
                <a:gd name="connsiteY170" fmla="*/ 409651 h 595122"/>
                <a:gd name="connsiteX171" fmla="*/ 503834 w 622553"/>
                <a:gd name="connsiteY171" fmla="*/ 414071 h 595122"/>
                <a:gd name="connsiteX172" fmla="*/ 518160 w 622553"/>
                <a:gd name="connsiteY172" fmla="*/ 416052 h 595122"/>
                <a:gd name="connsiteX173" fmla="*/ 535991 w 622553"/>
                <a:gd name="connsiteY173" fmla="*/ 412852 h 595122"/>
                <a:gd name="connsiteX174" fmla="*/ 553059 w 622553"/>
                <a:gd name="connsiteY174" fmla="*/ 400964 h 595122"/>
                <a:gd name="connsiteX175" fmla="*/ 621487 w 622553"/>
                <a:gd name="connsiteY175" fmla="*/ 374752 h 595122"/>
                <a:gd name="connsiteX176" fmla="*/ 621487 w 622553"/>
                <a:gd name="connsiteY176" fmla="*/ 428854 h 595122"/>
                <a:gd name="connsiteX177" fmla="*/ 603656 w 622553"/>
                <a:gd name="connsiteY177" fmla="*/ 432054 h 595122"/>
                <a:gd name="connsiteX178" fmla="*/ 586587 w 622553"/>
                <a:gd name="connsiteY178" fmla="*/ 443941 h 595122"/>
                <a:gd name="connsiteX179" fmla="*/ 569823 w 622553"/>
                <a:gd name="connsiteY179" fmla="*/ 456286 h 595122"/>
                <a:gd name="connsiteX180" fmla="*/ 548792 w 622553"/>
                <a:gd name="connsiteY180" fmla="*/ 465430 h 595122"/>
                <a:gd name="connsiteX181" fmla="*/ 519532 w 622553"/>
                <a:gd name="connsiteY181" fmla="*/ 470154 h 595122"/>
                <a:gd name="connsiteX182" fmla="*/ 519074 w 622553"/>
                <a:gd name="connsiteY182" fmla="*/ 595122 h 595122"/>
                <a:gd name="connsiteX183" fmla="*/ 449732 w 622553"/>
                <a:gd name="connsiteY183" fmla="*/ 568757 h 595122"/>
                <a:gd name="connsiteX184" fmla="*/ 439064 w 622553"/>
                <a:gd name="connsiteY184" fmla="*/ 560070 h 595122"/>
                <a:gd name="connsiteX185" fmla="*/ 429158 w 622553"/>
                <a:gd name="connsiteY185" fmla="*/ 555651 h 595122"/>
                <a:gd name="connsiteX186" fmla="*/ 414833 w 622553"/>
                <a:gd name="connsiteY186" fmla="*/ 553670 h 595122"/>
                <a:gd name="connsiteX187" fmla="*/ 396849 w 622553"/>
                <a:gd name="connsiteY187" fmla="*/ 556870 h 595122"/>
                <a:gd name="connsiteX188" fmla="*/ 379781 w 622553"/>
                <a:gd name="connsiteY188" fmla="*/ 568757 h 595122"/>
                <a:gd name="connsiteX189" fmla="*/ 242621 w 622553"/>
                <a:gd name="connsiteY189" fmla="*/ 568757 h 595122"/>
                <a:gd name="connsiteX190" fmla="*/ 231800 w 622553"/>
                <a:gd name="connsiteY190" fmla="*/ 560070 h 595122"/>
                <a:gd name="connsiteX191" fmla="*/ 221894 w 622553"/>
                <a:gd name="connsiteY191" fmla="*/ 555651 h 595122"/>
                <a:gd name="connsiteX192" fmla="*/ 208331 w 622553"/>
                <a:gd name="connsiteY192" fmla="*/ 553670 h 595122"/>
                <a:gd name="connsiteX193" fmla="*/ 190043 w 622553"/>
                <a:gd name="connsiteY193" fmla="*/ 556870 h 595122"/>
                <a:gd name="connsiteX194" fmla="*/ 173431 w 622553"/>
                <a:gd name="connsiteY194" fmla="*/ 568757 h 595122"/>
                <a:gd name="connsiteX195" fmla="*/ 36271 w 622553"/>
                <a:gd name="connsiteY195" fmla="*/ 568757 h 595122"/>
                <a:gd name="connsiteX196" fmla="*/ 25451 w 622553"/>
                <a:gd name="connsiteY196" fmla="*/ 560070 h 595122"/>
                <a:gd name="connsiteX197" fmla="*/ 15545 w 622553"/>
                <a:gd name="connsiteY197" fmla="*/ 555651 h 595122"/>
                <a:gd name="connsiteX198" fmla="*/ 1219 w 622553"/>
                <a:gd name="connsiteY198" fmla="*/ 553670 h 595122"/>
                <a:gd name="connsiteX199" fmla="*/ 1219 w 622553"/>
                <a:gd name="connsiteY199" fmla="*/ 499567 h 595122"/>
                <a:gd name="connsiteX200" fmla="*/ 69646 w 622553"/>
                <a:gd name="connsiteY200" fmla="*/ 525933 h 595122"/>
                <a:gd name="connsiteX201" fmla="*/ 78029 w 622553"/>
                <a:gd name="connsiteY201" fmla="*/ 532638 h 595122"/>
                <a:gd name="connsiteX202" fmla="*/ 85192 w 622553"/>
                <a:gd name="connsiteY202" fmla="*/ 537058 h 595122"/>
                <a:gd name="connsiteX203" fmla="*/ 94336 w 622553"/>
                <a:gd name="connsiteY203" fmla="*/ 540258 h 595122"/>
                <a:gd name="connsiteX204" fmla="*/ 104546 w 622553"/>
                <a:gd name="connsiteY204" fmla="*/ 541020 h 595122"/>
                <a:gd name="connsiteX205" fmla="*/ 118872 w 622553"/>
                <a:gd name="connsiteY205" fmla="*/ 539039 h 595122"/>
                <a:gd name="connsiteX206" fmla="*/ 128930 w 622553"/>
                <a:gd name="connsiteY206" fmla="*/ 534620 h 595122"/>
                <a:gd name="connsiteX207" fmla="*/ 139598 w 622553"/>
                <a:gd name="connsiteY207" fmla="*/ 525933 h 595122"/>
                <a:gd name="connsiteX208" fmla="*/ 276758 w 622553"/>
                <a:gd name="connsiteY208" fmla="*/ 525933 h 595122"/>
                <a:gd name="connsiteX209" fmla="*/ 287579 w 622553"/>
                <a:gd name="connsiteY209" fmla="*/ 534620 h 595122"/>
                <a:gd name="connsiteX210" fmla="*/ 297485 w 622553"/>
                <a:gd name="connsiteY210" fmla="*/ 539039 h 595122"/>
                <a:gd name="connsiteX211" fmla="*/ 326136 w 622553"/>
                <a:gd name="connsiteY211" fmla="*/ 539039 h 595122"/>
                <a:gd name="connsiteX212" fmla="*/ 336042 w 622553"/>
                <a:gd name="connsiteY212" fmla="*/ 534620 h 595122"/>
                <a:gd name="connsiteX213" fmla="*/ 346862 w 622553"/>
                <a:gd name="connsiteY213" fmla="*/ 525933 h 595122"/>
                <a:gd name="connsiteX214" fmla="*/ 484022 w 622553"/>
                <a:gd name="connsiteY214" fmla="*/ 525933 h 595122"/>
                <a:gd name="connsiteX215" fmla="*/ 490423 w 622553"/>
                <a:gd name="connsiteY215" fmla="*/ 531419 h 595122"/>
                <a:gd name="connsiteX216" fmla="*/ 496366 w 622553"/>
                <a:gd name="connsiteY216" fmla="*/ 535381 h 595122"/>
                <a:gd name="connsiteX217" fmla="*/ 502767 w 622553"/>
                <a:gd name="connsiteY217" fmla="*/ 538582 h 595122"/>
                <a:gd name="connsiteX218" fmla="*/ 509930 w 622553"/>
                <a:gd name="connsiteY218" fmla="*/ 540258 h 595122"/>
                <a:gd name="connsiteX219" fmla="*/ 519074 w 622553"/>
                <a:gd name="connsiteY219" fmla="*/ 541020 h 595122"/>
                <a:gd name="connsiteX220" fmla="*/ 536905 w 622553"/>
                <a:gd name="connsiteY220" fmla="*/ 537820 h 595122"/>
                <a:gd name="connsiteX221" fmla="*/ 553974 w 622553"/>
                <a:gd name="connsiteY221" fmla="*/ 525933 h 595122"/>
                <a:gd name="connsiteX222" fmla="*/ 622402 w 622553"/>
                <a:gd name="connsiteY222" fmla="*/ 499567 h 595122"/>
                <a:gd name="connsiteX223" fmla="*/ 622402 w 622553"/>
                <a:gd name="connsiteY223" fmla="*/ 553670 h 595122"/>
                <a:gd name="connsiteX224" fmla="*/ 604571 w 622553"/>
                <a:gd name="connsiteY224" fmla="*/ 556870 h 595122"/>
                <a:gd name="connsiteX225" fmla="*/ 587502 w 622553"/>
                <a:gd name="connsiteY225" fmla="*/ 568757 h 595122"/>
                <a:gd name="connsiteX226" fmla="*/ 570738 w 622553"/>
                <a:gd name="connsiteY226" fmla="*/ 581101 h 595122"/>
                <a:gd name="connsiteX227" fmla="*/ 549706 w 622553"/>
                <a:gd name="connsiteY227" fmla="*/ 590398 h 595122"/>
                <a:gd name="connsiteX228" fmla="*/ 519532 w 622553"/>
                <a:gd name="connsiteY228" fmla="*/ 595122 h 59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622553" h="595122">
                  <a:moveTo>
                    <a:pt x="517855" y="95403"/>
                  </a:moveTo>
                  <a:cubicBezTo>
                    <a:pt x="492709" y="94763"/>
                    <a:pt x="468554" y="85512"/>
                    <a:pt x="449427" y="69190"/>
                  </a:cubicBezTo>
                  <a:lnTo>
                    <a:pt x="438759" y="60808"/>
                  </a:lnTo>
                  <a:cubicBezTo>
                    <a:pt x="435681" y="58705"/>
                    <a:pt x="432282" y="57104"/>
                    <a:pt x="428701" y="56084"/>
                  </a:cubicBezTo>
                  <a:cubicBezTo>
                    <a:pt x="424068" y="54666"/>
                    <a:pt x="419222" y="53995"/>
                    <a:pt x="414376" y="54102"/>
                  </a:cubicBezTo>
                  <a:cubicBezTo>
                    <a:pt x="408264" y="53873"/>
                    <a:pt x="402183" y="54956"/>
                    <a:pt x="396545" y="57303"/>
                  </a:cubicBezTo>
                  <a:cubicBezTo>
                    <a:pt x="390388" y="60534"/>
                    <a:pt x="384642" y="64526"/>
                    <a:pt x="379476" y="69190"/>
                  </a:cubicBezTo>
                  <a:cubicBezTo>
                    <a:pt x="340324" y="103846"/>
                    <a:pt x="281467" y="103846"/>
                    <a:pt x="242316" y="69190"/>
                  </a:cubicBezTo>
                  <a:lnTo>
                    <a:pt x="231496" y="60808"/>
                  </a:lnTo>
                  <a:cubicBezTo>
                    <a:pt x="228493" y="58674"/>
                    <a:pt x="225140" y="57074"/>
                    <a:pt x="221589" y="56084"/>
                  </a:cubicBezTo>
                  <a:cubicBezTo>
                    <a:pt x="216941" y="54681"/>
                    <a:pt x="212110" y="54011"/>
                    <a:pt x="207264" y="54102"/>
                  </a:cubicBezTo>
                  <a:cubicBezTo>
                    <a:pt x="202570" y="53980"/>
                    <a:pt x="197876" y="54651"/>
                    <a:pt x="193396" y="56084"/>
                  </a:cubicBezTo>
                  <a:cubicBezTo>
                    <a:pt x="189845" y="57196"/>
                    <a:pt x="186461" y="58781"/>
                    <a:pt x="183337" y="60808"/>
                  </a:cubicBezTo>
                  <a:lnTo>
                    <a:pt x="172212" y="69190"/>
                  </a:lnTo>
                  <a:cubicBezTo>
                    <a:pt x="133060" y="103846"/>
                    <a:pt x="74203" y="103846"/>
                    <a:pt x="35052" y="69190"/>
                  </a:cubicBezTo>
                  <a:lnTo>
                    <a:pt x="24384" y="60808"/>
                  </a:lnTo>
                  <a:cubicBezTo>
                    <a:pt x="21305" y="58705"/>
                    <a:pt x="17907" y="57104"/>
                    <a:pt x="14326" y="56084"/>
                  </a:cubicBezTo>
                  <a:cubicBezTo>
                    <a:pt x="9677" y="54681"/>
                    <a:pt x="4846" y="54011"/>
                    <a:pt x="0" y="54102"/>
                  </a:cubicBezTo>
                  <a:lnTo>
                    <a:pt x="0" y="0"/>
                  </a:lnTo>
                  <a:cubicBezTo>
                    <a:pt x="25558" y="625"/>
                    <a:pt x="50078" y="10165"/>
                    <a:pt x="69342" y="26975"/>
                  </a:cubicBezTo>
                  <a:cubicBezTo>
                    <a:pt x="72756" y="29810"/>
                    <a:pt x="76307" y="32461"/>
                    <a:pt x="80010" y="34900"/>
                  </a:cubicBezTo>
                  <a:cubicBezTo>
                    <a:pt x="83058" y="36896"/>
                    <a:pt x="86395" y="38390"/>
                    <a:pt x="89916" y="39319"/>
                  </a:cubicBezTo>
                  <a:cubicBezTo>
                    <a:pt x="94564" y="40721"/>
                    <a:pt x="99395" y="41392"/>
                    <a:pt x="104242" y="41301"/>
                  </a:cubicBezTo>
                  <a:cubicBezTo>
                    <a:pt x="110398" y="41544"/>
                    <a:pt x="116525" y="40447"/>
                    <a:pt x="122225" y="38100"/>
                  </a:cubicBezTo>
                  <a:cubicBezTo>
                    <a:pt x="128275" y="34976"/>
                    <a:pt x="133990" y="31258"/>
                    <a:pt x="139293" y="26975"/>
                  </a:cubicBezTo>
                  <a:cubicBezTo>
                    <a:pt x="178033" y="-8732"/>
                    <a:pt x="237713" y="-8732"/>
                    <a:pt x="276453" y="26975"/>
                  </a:cubicBezTo>
                  <a:cubicBezTo>
                    <a:pt x="279913" y="29825"/>
                    <a:pt x="283525" y="32461"/>
                    <a:pt x="287274" y="34900"/>
                  </a:cubicBezTo>
                  <a:cubicBezTo>
                    <a:pt x="290292" y="36927"/>
                    <a:pt x="293644" y="38420"/>
                    <a:pt x="297180" y="39319"/>
                  </a:cubicBezTo>
                  <a:cubicBezTo>
                    <a:pt x="301828" y="40721"/>
                    <a:pt x="306659" y="41392"/>
                    <a:pt x="311506" y="41301"/>
                  </a:cubicBezTo>
                  <a:cubicBezTo>
                    <a:pt x="317617" y="41544"/>
                    <a:pt x="323697" y="40447"/>
                    <a:pt x="329336" y="38100"/>
                  </a:cubicBezTo>
                  <a:cubicBezTo>
                    <a:pt x="335432" y="34991"/>
                    <a:pt x="341208" y="31258"/>
                    <a:pt x="346557" y="26975"/>
                  </a:cubicBezTo>
                  <a:cubicBezTo>
                    <a:pt x="365607" y="10211"/>
                    <a:pt x="389931" y="671"/>
                    <a:pt x="415290" y="0"/>
                  </a:cubicBezTo>
                  <a:cubicBezTo>
                    <a:pt x="440451" y="564"/>
                    <a:pt x="464561" y="10135"/>
                    <a:pt x="483260" y="26975"/>
                  </a:cubicBezTo>
                  <a:cubicBezTo>
                    <a:pt x="488594" y="30785"/>
                    <a:pt x="492404" y="33376"/>
                    <a:pt x="494843" y="34900"/>
                  </a:cubicBezTo>
                  <a:cubicBezTo>
                    <a:pt x="497891" y="36896"/>
                    <a:pt x="501228" y="38390"/>
                    <a:pt x="504749" y="39319"/>
                  </a:cubicBezTo>
                  <a:cubicBezTo>
                    <a:pt x="509138" y="40676"/>
                    <a:pt x="513710" y="41346"/>
                    <a:pt x="518312" y="41301"/>
                  </a:cubicBezTo>
                  <a:cubicBezTo>
                    <a:pt x="524576" y="41621"/>
                    <a:pt x="530824" y="40524"/>
                    <a:pt x="536600" y="38100"/>
                  </a:cubicBezTo>
                  <a:cubicBezTo>
                    <a:pt x="542529" y="34930"/>
                    <a:pt x="548137" y="31196"/>
                    <a:pt x="553364" y="26975"/>
                  </a:cubicBezTo>
                  <a:cubicBezTo>
                    <a:pt x="572552" y="10150"/>
                    <a:pt x="597042" y="594"/>
                    <a:pt x="622554" y="0"/>
                  </a:cubicBezTo>
                  <a:lnTo>
                    <a:pt x="622554" y="54102"/>
                  </a:lnTo>
                  <a:cubicBezTo>
                    <a:pt x="619003" y="53828"/>
                    <a:pt x="615437" y="53828"/>
                    <a:pt x="611886" y="54102"/>
                  </a:cubicBezTo>
                  <a:cubicBezTo>
                    <a:pt x="608777" y="54666"/>
                    <a:pt x="605790" y="55748"/>
                    <a:pt x="603046" y="57303"/>
                  </a:cubicBezTo>
                  <a:cubicBezTo>
                    <a:pt x="600547" y="58583"/>
                    <a:pt x="598155" y="60061"/>
                    <a:pt x="595884" y="61722"/>
                  </a:cubicBezTo>
                  <a:cubicBezTo>
                    <a:pt x="594055" y="62941"/>
                    <a:pt x="591312" y="65227"/>
                    <a:pt x="587502" y="68428"/>
                  </a:cubicBezTo>
                  <a:cubicBezTo>
                    <a:pt x="580644" y="73762"/>
                    <a:pt x="575157" y="77877"/>
                    <a:pt x="570890" y="80772"/>
                  </a:cubicBezTo>
                  <a:cubicBezTo>
                    <a:pt x="564261" y="84734"/>
                    <a:pt x="557144" y="87798"/>
                    <a:pt x="549706" y="89916"/>
                  </a:cubicBezTo>
                  <a:cubicBezTo>
                    <a:pt x="539450" y="93452"/>
                    <a:pt x="528706" y="95311"/>
                    <a:pt x="517855" y="95403"/>
                  </a:cubicBezTo>
                  <a:close/>
                  <a:moveTo>
                    <a:pt x="519074" y="220371"/>
                  </a:moveTo>
                  <a:cubicBezTo>
                    <a:pt x="493806" y="219700"/>
                    <a:pt x="469514" y="210464"/>
                    <a:pt x="450189" y="194158"/>
                  </a:cubicBezTo>
                  <a:lnTo>
                    <a:pt x="439522" y="185776"/>
                  </a:lnTo>
                  <a:cubicBezTo>
                    <a:pt x="436519" y="183612"/>
                    <a:pt x="433167" y="181966"/>
                    <a:pt x="429616" y="180899"/>
                  </a:cubicBezTo>
                  <a:cubicBezTo>
                    <a:pt x="424952" y="179573"/>
                    <a:pt x="420136" y="178918"/>
                    <a:pt x="415290" y="178918"/>
                  </a:cubicBezTo>
                  <a:cubicBezTo>
                    <a:pt x="409133" y="178674"/>
                    <a:pt x="403007" y="179771"/>
                    <a:pt x="397306" y="182118"/>
                  </a:cubicBezTo>
                  <a:cubicBezTo>
                    <a:pt x="391134" y="185395"/>
                    <a:pt x="385404" y="189448"/>
                    <a:pt x="380238" y="194158"/>
                  </a:cubicBezTo>
                  <a:cubicBezTo>
                    <a:pt x="341086" y="228814"/>
                    <a:pt x="282229" y="228814"/>
                    <a:pt x="243078" y="194158"/>
                  </a:cubicBezTo>
                  <a:cubicBezTo>
                    <a:pt x="240685" y="191704"/>
                    <a:pt x="238140" y="189418"/>
                    <a:pt x="235458" y="187300"/>
                  </a:cubicBezTo>
                  <a:cubicBezTo>
                    <a:pt x="233080" y="185699"/>
                    <a:pt x="230581" y="184267"/>
                    <a:pt x="227990" y="183033"/>
                  </a:cubicBezTo>
                  <a:cubicBezTo>
                    <a:pt x="225140" y="181478"/>
                    <a:pt x="222046" y="180411"/>
                    <a:pt x="218846" y="179832"/>
                  </a:cubicBezTo>
                  <a:cubicBezTo>
                    <a:pt x="215280" y="179177"/>
                    <a:pt x="211653" y="178872"/>
                    <a:pt x="208026" y="178918"/>
                  </a:cubicBezTo>
                  <a:cubicBezTo>
                    <a:pt x="201915" y="178659"/>
                    <a:pt x="195834" y="179756"/>
                    <a:pt x="190195" y="182118"/>
                  </a:cubicBezTo>
                  <a:cubicBezTo>
                    <a:pt x="183977" y="185395"/>
                    <a:pt x="178186" y="189434"/>
                    <a:pt x="172974" y="194158"/>
                  </a:cubicBezTo>
                  <a:cubicBezTo>
                    <a:pt x="134036" y="229362"/>
                    <a:pt x="74752" y="229362"/>
                    <a:pt x="35814" y="194158"/>
                  </a:cubicBezTo>
                  <a:cubicBezTo>
                    <a:pt x="30937" y="190348"/>
                    <a:pt x="27279" y="187604"/>
                    <a:pt x="24536" y="185776"/>
                  </a:cubicBezTo>
                  <a:cubicBezTo>
                    <a:pt x="21336" y="183642"/>
                    <a:pt x="17846" y="181996"/>
                    <a:pt x="14173" y="180899"/>
                  </a:cubicBezTo>
                  <a:cubicBezTo>
                    <a:pt x="9814" y="179603"/>
                    <a:pt x="5303" y="178933"/>
                    <a:pt x="762" y="178918"/>
                  </a:cubicBezTo>
                  <a:lnTo>
                    <a:pt x="762" y="124816"/>
                  </a:lnTo>
                  <a:cubicBezTo>
                    <a:pt x="26030" y="125608"/>
                    <a:pt x="50231" y="135209"/>
                    <a:pt x="69189" y="151943"/>
                  </a:cubicBezTo>
                  <a:lnTo>
                    <a:pt x="77572" y="157887"/>
                  </a:lnTo>
                  <a:cubicBezTo>
                    <a:pt x="79857" y="159517"/>
                    <a:pt x="82250" y="160996"/>
                    <a:pt x="84734" y="162306"/>
                  </a:cubicBezTo>
                  <a:cubicBezTo>
                    <a:pt x="87462" y="163769"/>
                    <a:pt x="90388" y="164851"/>
                    <a:pt x="93421" y="165507"/>
                  </a:cubicBezTo>
                  <a:cubicBezTo>
                    <a:pt x="96972" y="165781"/>
                    <a:pt x="100538" y="165781"/>
                    <a:pt x="104089" y="165507"/>
                  </a:cubicBezTo>
                  <a:cubicBezTo>
                    <a:pt x="110246" y="165750"/>
                    <a:pt x="116372" y="164653"/>
                    <a:pt x="122072" y="162306"/>
                  </a:cubicBezTo>
                  <a:cubicBezTo>
                    <a:pt x="128122" y="159182"/>
                    <a:pt x="133837" y="155464"/>
                    <a:pt x="139141" y="151181"/>
                  </a:cubicBezTo>
                  <a:cubicBezTo>
                    <a:pt x="177835" y="115321"/>
                    <a:pt x="237607" y="115321"/>
                    <a:pt x="276301" y="151181"/>
                  </a:cubicBezTo>
                  <a:cubicBezTo>
                    <a:pt x="281178" y="154838"/>
                    <a:pt x="284683" y="157582"/>
                    <a:pt x="287122" y="159106"/>
                  </a:cubicBezTo>
                  <a:cubicBezTo>
                    <a:pt x="290185" y="161072"/>
                    <a:pt x="293522" y="162565"/>
                    <a:pt x="297027" y="163525"/>
                  </a:cubicBezTo>
                  <a:cubicBezTo>
                    <a:pt x="301676" y="164928"/>
                    <a:pt x="306507" y="165598"/>
                    <a:pt x="311353" y="165507"/>
                  </a:cubicBezTo>
                  <a:cubicBezTo>
                    <a:pt x="316047" y="165629"/>
                    <a:pt x="320741" y="164958"/>
                    <a:pt x="325222" y="163525"/>
                  </a:cubicBezTo>
                  <a:cubicBezTo>
                    <a:pt x="328726" y="162444"/>
                    <a:pt x="332110" y="160950"/>
                    <a:pt x="335280" y="159106"/>
                  </a:cubicBezTo>
                  <a:cubicBezTo>
                    <a:pt x="337871" y="157582"/>
                    <a:pt x="341528" y="154838"/>
                    <a:pt x="346405" y="151181"/>
                  </a:cubicBezTo>
                  <a:cubicBezTo>
                    <a:pt x="385099" y="115321"/>
                    <a:pt x="444871" y="115321"/>
                    <a:pt x="483565" y="151181"/>
                  </a:cubicBezTo>
                  <a:cubicBezTo>
                    <a:pt x="488289" y="154838"/>
                    <a:pt x="491947" y="157582"/>
                    <a:pt x="494233" y="159106"/>
                  </a:cubicBezTo>
                  <a:cubicBezTo>
                    <a:pt x="497357" y="161041"/>
                    <a:pt x="500756" y="162535"/>
                    <a:pt x="504292" y="163525"/>
                  </a:cubicBezTo>
                  <a:cubicBezTo>
                    <a:pt x="508924" y="164943"/>
                    <a:pt x="513771" y="165613"/>
                    <a:pt x="518617" y="165507"/>
                  </a:cubicBezTo>
                  <a:cubicBezTo>
                    <a:pt x="524728" y="165735"/>
                    <a:pt x="530809" y="164653"/>
                    <a:pt x="536448" y="162306"/>
                  </a:cubicBezTo>
                  <a:cubicBezTo>
                    <a:pt x="542513" y="159213"/>
                    <a:pt x="548244" y="155494"/>
                    <a:pt x="553516" y="151181"/>
                  </a:cubicBezTo>
                  <a:cubicBezTo>
                    <a:pt x="572475" y="134463"/>
                    <a:pt x="596676" y="124877"/>
                    <a:pt x="621944" y="124054"/>
                  </a:cubicBezTo>
                  <a:lnTo>
                    <a:pt x="621944" y="178156"/>
                  </a:lnTo>
                  <a:cubicBezTo>
                    <a:pt x="615833" y="177912"/>
                    <a:pt x="609752" y="179009"/>
                    <a:pt x="604113" y="181356"/>
                  </a:cubicBezTo>
                  <a:cubicBezTo>
                    <a:pt x="597926" y="184602"/>
                    <a:pt x="592181" y="188656"/>
                    <a:pt x="587045" y="193396"/>
                  </a:cubicBezTo>
                  <a:cubicBezTo>
                    <a:pt x="568040" y="209718"/>
                    <a:pt x="544098" y="219167"/>
                    <a:pt x="519074" y="220218"/>
                  </a:cubicBezTo>
                  <a:close/>
                  <a:moveTo>
                    <a:pt x="519074" y="345339"/>
                  </a:moveTo>
                  <a:cubicBezTo>
                    <a:pt x="493776" y="344668"/>
                    <a:pt x="469468" y="335372"/>
                    <a:pt x="450189" y="318974"/>
                  </a:cubicBezTo>
                  <a:cubicBezTo>
                    <a:pt x="446867" y="315804"/>
                    <a:pt x="443301" y="312908"/>
                    <a:pt x="439522" y="310287"/>
                  </a:cubicBezTo>
                  <a:cubicBezTo>
                    <a:pt x="436443" y="308351"/>
                    <a:pt x="433105" y="306858"/>
                    <a:pt x="429616" y="305867"/>
                  </a:cubicBezTo>
                  <a:cubicBezTo>
                    <a:pt x="424952" y="304541"/>
                    <a:pt x="420136" y="303886"/>
                    <a:pt x="415290" y="303886"/>
                  </a:cubicBezTo>
                  <a:cubicBezTo>
                    <a:pt x="410550" y="303840"/>
                    <a:pt x="405826" y="304511"/>
                    <a:pt x="401269" y="305867"/>
                  </a:cubicBezTo>
                  <a:cubicBezTo>
                    <a:pt x="397810" y="306949"/>
                    <a:pt x="394487" y="308427"/>
                    <a:pt x="391363" y="310287"/>
                  </a:cubicBezTo>
                  <a:cubicBezTo>
                    <a:pt x="387401" y="312832"/>
                    <a:pt x="383667" y="315743"/>
                    <a:pt x="380238" y="318974"/>
                  </a:cubicBezTo>
                  <a:cubicBezTo>
                    <a:pt x="341162" y="353827"/>
                    <a:pt x="282153" y="353827"/>
                    <a:pt x="243078" y="318974"/>
                  </a:cubicBezTo>
                  <a:cubicBezTo>
                    <a:pt x="239679" y="315834"/>
                    <a:pt x="236052" y="312923"/>
                    <a:pt x="232257" y="310287"/>
                  </a:cubicBezTo>
                  <a:cubicBezTo>
                    <a:pt x="229194" y="308321"/>
                    <a:pt x="225856" y="306827"/>
                    <a:pt x="222352" y="305867"/>
                  </a:cubicBezTo>
                  <a:cubicBezTo>
                    <a:pt x="217840" y="304556"/>
                    <a:pt x="213177" y="303886"/>
                    <a:pt x="208483" y="303886"/>
                  </a:cubicBezTo>
                  <a:cubicBezTo>
                    <a:pt x="203743" y="303886"/>
                    <a:pt x="199019" y="304556"/>
                    <a:pt x="194462" y="305867"/>
                  </a:cubicBezTo>
                  <a:cubicBezTo>
                    <a:pt x="190881" y="306903"/>
                    <a:pt x="187452" y="308382"/>
                    <a:pt x="184252" y="310287"/>
                  </a:cubicBezTo>
                  <a:cubicBezTo>
                    <a:pt x="180228" y="312816"/>
                    <a:pt x="176449" y="315727"/>
                    <a:pt x="172974" y="318974"/>
                  </a:cubicBezTo>
                  <a:cubicBezTo>
                    <a:pt x="134112" y="354391"/>
                    <a:pt x="74676" y="354391"/>
                    <a:pt x="35814" y="318974"/>
                  </a:cubicBezTo>
                  <a:cubicBezTo>
                    <a:pt x="32339" y="315727"/>
                    <a:pt x="28560" y="312816"/>
                    <a:pt x="24536" y="310287"/>
                  </a:cubicBezTo>
                  <a:cubicBezTo>
                    <a:pt x="21275" y="308382"/>
                    <a:pt x="17800" y="306903"/>
                    <a:pt x="14173" y="305867"/>
                  </a:cubicBezTo>
                  <a:cubicBezTo>
                    <a:pt x="9814" y="304572"/>
                    <a:pt x="5303" y="303901"/>
                    <a:pt x="762" y="303886"/>
                  </a:cubicBezTo>
                  <a:lnTo>
                    <a:pt x="762" y="249784"/>
                  </a:lnTo>
                  <a:cubicBezTo>
                    <a:pt x="26045" y="250500"/>
                    <a:pt x="50276" y="260101"/>
                    <a:pt x="69189" y="276911"/>
                  </a:cubicBezTo>
                  <a:lnTo>
                    <a:pt x="79857" y="284836"/>
                  </a:lnTo>
                  <a:cubicBezTo>
                    <a:pt x="82951" y="286695"/>
                    <a:pt x="86289" y="288128"/>
                    <a:pt x="89763" y="289103"/>
                  </a:cubicBezTo>
                  <a:cubicBezTo>
                    <a:pt x="94397" y="290551"/>
                    <a:pt x="99227" y="291267"/>
                    <a:pt x="104089" y="291237"/>
                  </a:cubicBezTo>
                  <a:cubicBezTo>
                    <a:pt x="108951" y="291298"/>
                    <a:pt x="113782" y="290566"/>
                    <a:pt x="118415" y="289103"/>
                  </a:cubicBezTo>
                  <a:cubicBezTo>
                    <a:pt x="121950" y="288143"/>
                    <a:pt x="125334" y="286710"/>
                    <a:pt x="128473" y="284836"/>
                  </a:cubicBezTo>
                  <a:lnTo>
                    <a:pt x="139141" y="276911"/>
                  </a:lnTo>
                  <a:cubicBezTo>
                    <a:pt x="177835" y="241051"/>
                    <a:pt x="237607" y="241051"/>
                    <a:pt x="276301" y="276911"/>
                  </a:cubicBezTo>
                  <a:lnTo>
                    <a:pt x="287122" y="284836"/>
                  </a:lnTo>
                  <a:cubicBezTo>
                    <a:pt x="290185" y="286741"/>
                    <a:pt x="293537" y="288189"/>
                    <a:pt x="297027" y="289103"/>
                  </a:cubicBezTo>
                  <a:cubicBezTo>
                    <a:pt x="301660" y="290566"/>
                    <a:pt x="306492" y="291298"/>
                    <a:pt x="311353" y="291237"/>
                  </a:cubicBezTo>
                  <a:cubicBezTo>
                    <a:pt x="316062" y="291313"/>
                    <a:pt x="320756" y="290581"/>
                    <a:pt x="325222" y="289103"/>
                  </a:cubicBezTo>
                  <a:cubicBezTo>
                    <a:pt x="328726" y="288067"/>
                    <a:pt x="332095" y="286634"/>
                    <a:pt x="335280" y="284836"/>
                  </a:cubicBezTo>
                  <a:cubicBezTo>
                    <a:pt x="337871" y="283160"/>
                    <a:pt x="341528" y="280569"/>
                    <a:pt x="346405" y="276911"/>
                  </a:cubicBezTo>
                  <a:cubicBezTo>
                    <a:pt x="385099" y="241051"/>
                    <a:pt x="444871" y="241051"/>
                    <a:pt x="483565" y="276911"/>
                  </a:cubicBezTo>
                  <a:lnTo>
                    <a:pt x="494233" y="284836"/>
                  </a:lnTo>
                  <a:cubicBezTo>
                    <a:pt x="497372" y="286710"/>
                    <a:pt x="500756" y="288143"/>
                    <a:pt x="504292" y="289103"/>
                  </a:cubicBezTo>
                  <a:cubicBezTo>
                    <a:pt x="508924" y="290566"/>
                    <a:pt x="513756" y="291298"/>
                    <a:pt x="518617" y="291237"/>
                  </a:cubicBezTo>
                  <a:cubicBezTo>
                    <a:pt x="522092" y="291252"/>
                    <a:pt x="525567" y="290947"/>
                    <a:pt x="528980" y="290322"/>
                  </a:cubicBezTo>
                  <a:cubicBezTo>
                    <a:pt x="532150" y="289834"/>
                    <a:pt x="535198" y="288753"/>
                    <a:pt x="537972" y="287122"/>
                  </a:cubicBezTo>
                  <a:cubicBezTo>
                    <a:pt x="541020" y="285598"/>
                    <a:pt x="543306" y="284074"/>
                    <a:pt x="545287" y="282854"/>
                  </a:cubicBezTo>
                  <a:lnTo>
                    <a:pt x="553516" y="276911"/>
                  </a:lnTo>
                  <a:cubicBezTo>
                    <a:pt x="572445" y="260132"/>
                    <a:pt x="596661" y="250531"/>
                    <a:pt x="621944" y="249784"/>
                  </a:cubicBezTo>
                  <a:lnTo>
                    <a:pt x="621944" y="303886"/>
                  </a:lnTo>
                  <a:cubicBezTo>
                    <a:pt x="617098" y="303871"/>
                    <a:pt x="612282" y="304541"/>
                    <a:pt x="607619" y="305867"/>
                  </a:cubicBezTo>
                  <a:cubicBezTo>
                    <a:pt x="604129" y="306858"/>
                    <a:pt x="600791" y="308351"/>
                    <a:pt x="597713" y="310287"/>
                  </a:cubicBezTo>
                  <a:cubicBezTo>
                    <a:pt x="593933" y="312908"/>
                    <a:pt x="590367" y="315804"/>
                    <a:pt x="587045" y="318974"/>
                  </a:cubicBezTo>
                  <a:cubicBezTo>
                    <a:pt x="568010" y="335174"/>
                    <a:pt x="544052" y="344470"/>
                    <a:pt x="519074" y="345339"/>
                  </a:cubicBezTo>
                  <a:close/>
                  <a:moveTo>
                    <a:pt x="519074" y="470154"/>
                  </a:moveTo>
                  <a:cubicBezTo>
                    <a:pt x="493639" y="469621"/>
                    <a:pt x="469163" y="460355"/>
                    <a:pt x="449732" y="443941"/>
                  </a:cubicBezTo>
                  <a:cubicBezTo>
                    <a:pt x="446364" y="440787"/>
                    <a:pt x="442798" y="437830"/>
                    <a:pt x="439064" y="435102"/>
                  </a:cubicBezTo>
                  <a:cubicBezTo>
                    <a:pt x="435955" y="433289"/>
                    <a:pt x="432618" y="431856"/>
                    <a:pt x="429158" y="430835"/>
                  </a:cubicBezTo>
                  <a:cubicBezTo>
                    <a:pt x="424510" y="429448"/>
                    <a:pt x="419679" y="428778"/>
                    <a:pt x="414833" y="428854"/>
                  </a:cubicBezTo>
                  <a:cubicBezTo>
                    <a:pt x="408676" y="428610"/>
                    <a:pt x="402549" y="429707"/>
                    <a:pt x="396849" y="432054"/>
                  </a:cubicBezTo>
                  <a:cubicBezTo>
                    <a:pt x="390708" y="435331"/>
                    <a:pt x="384977" y="439324"/>
                    <a:pt x="379781" y="443941"/>
                  </a:cubicBezTo>
                  <a:cubicBezTo>
                    <a:pt x="340629" y="478597"/>
                    <a:pt x="281772" y="478597"/>
                    <a:pt x="242621" y="443941"/>
                  </a:cubicBezTo>
                  <a:cubicBezTo>
                    <a:pt x="239161" y="440817"/>
                    <a:pt x="235565" y="437861"/>
                    <a:pt x="231800" y="435102"/>
                  </a:cubicBezTo>
                  <a:cubicBezTo>
                    <a:pt x="228691" y="433258"/>
                    <a:pt x="225369" y="431826"/>
                    <a:pt x="221894" y="430835"/>
                  </a:cubicBezTo>
                  <a:cubicBezTo>
                    <a:pt x="217246" y="429433"/>
                    <a:pt x="212415" y="428762"/>
                    <a:pt x="207569" y="428854"/>
                  </a:cubicBezTo>
                  <a:cubicBezTo>
                    <a:pt x="201457" y="428595"/>
                    <a:pt x="195376" y="429692"/>
                    <a:pt x="189738" y="432054"/>
                  </a:cubicBezTo>
                  <a:cubicBezTo>
                    <a:pt x="183550" y="435316"/>
                    <a:pt x="177759" y="439309"/>
                    <a:pt x="172516" y="443941"/>
                  </a:cubicBezTo>
                  <a:cubicBezTo>
                    <a:pt x="133578" y="479146"/>
                    <a:pt x="74295" y="479146"/>
                    <a:pt x="35356" y="443941"/>
                  </a:cubicBezTo>
                  <a:cubicBezTo>
                    <a:pt x="31836" y="440710"/>
                    <a:pt x="28057" y="437754"/>
                    <a:pt x="24079" y="435102"/>
                  </a:cubicBezTo>
                  <a:cubicBezTo>
                    <a:pt x="20787" y="433319"/>
                    <a:pt x="17312" y="431887"/>
                    <a:pt x="13716" y="430835"/>
                  </a:cubicBezTo>
                  <a:cubicBezTo>
                    <a:pt x="9372" y="429464"/>
                    <a:pt x="4846" y="428793"/>
                    <a:pt x="305" y="428854"/>
                  </a:cubicBezTo>
                  <a:lnTo>
                    <a:pt x="305" y="374752"/>
                  </a:lnTo>
                  <a:cubicBezTo>
                    <a:pt x="25451" y="375392"/>
                    <a:pt x="49606" y="384643"/>
                    <a:pt x="68732" y="400964"/>
                  </a:cubicBezTo>
                  <a:cubicBezTo>
                    <a:pt x="72085" y="404089"/>
                    <a:pt x="75651" y="407000"/>
                    <a:pt x="79400" y="409651"/>
                  </a:cubicBezTo>
                  <a:cubicBezTo>
                    <a:pt x="82494" y="411556"/>
                    <a:pt x="85816" y="413050"/>
                    <a:pt x="89306" y="414071"/>
                  </a:cubicBezTo>
                  <a:cubicBezTo>
                    <a:pt x="93954" y="415458"/>
                    <a:pt x="98786" y="416129"/>
                    <a:pt x="103632" y="416052"/>
                  </a:cubicBezTo>
                  <a:cubicBezTo>
                    <a:pt x="109789" y="416296"/>
                    <a:pt x="115915" y="415199"/>
                    <a:pt x="121615" y="412852"/>
                  </a:cubicBezTo>
                  <a:cubicBezTo>
                    <a:pt x="127757" y="409575"/>
                    <a:pt x="133487" y="405582"/>
                    <a:pt x="138684" y="400964"/>
                  </a:cubicBezTo>
                  <a:cubicBezTo>
                    <a:pt x="177835" y="366309"/>
                    <a:pt x="236692" y="366309"/>
                    <a:pt x="275844" y="400964"/>
                  </a:cubicBezTo>
                  <a:cubicBezTo>
                    <a:pt x="279243" y="404104"/>
                    <a:pt x="282869" y="407015"/>
                    <a:pt x="286664" y="409651"/>
                  </a:cubicBezTo>
                  <a:cubicBezTo>
                    <a:pt x="289727" y="411617"/>
                    <a:pt x="293065" y="413111"/>
                    <a:pt x="296570" y="414071"/>
                  </a:cubicBezTo>
                  <a:cubicBezTo>
                    <a:pt x="301218" y="415473"/>
                    <a:pt x="306050" y="416144"/>
                    <a:pt x="310896" y="416052"/>
                  </a:cubicBezTo>
                  <a:cubicBezTo>
                    <a:pt x="317053" y="416296"/>
                    <a:pt x="323179" y="415199"/>
                    <a:pt x="328879" y="412852"/>
                  </a:cubicBezTo>
                  <a:cubicBezTo>
                    <a:pt x="335021" y="409575"/>
                    <a:pt x="340751" y="405582"/>
                    <a:pt x="345948" y="400964"/>
                  </a:cubicBezTo>
                  <a:cubicBezTo>
                    <a:pt x="385099" y="366309"/>
                    <a:pt x="443956" y="366309"/>
                    <a:pt x="483108" y="400964"/>
                  </a:cubicBezTo>
                  <a:cubicBezTo>
                    <a:pt x="486461" y="404089"/>
                    <a:pt x="490027" y="407000"/>
                    <a:pt x="493776" y="409651"/>
                  </a:cubicBezTo>
                  <a:cubicBezTo>
                    <a:pt x="496900" y="411587"/>
                    <a:pt x="500299" y="413080"/>
                    <a:pt x="503834" y="414071"/>
                  </a:cubicBezTo>
                  <a:cubicBezTo>
                    <a:pt x="508467" y="415488"/>
                    <a:pt x="513313" y="416159"/>
                    <a:pt x="518160" y="416052"/>
                  </a:cubicBezTo>
                  <a:cubicBezTo>
                    <a:pt x="524271" y="416281"/>
                    <a:pt x="530352" y="415199"/>
                    <a:pt x="535991" y="412852"/>
                  </a:cubicBezTo>
                  <a:cubicBezTo>
                    <a:pt x="542147" y="409621"/>
                    <a:pt x="547893" y="405628"/>
                    <a:pt x="553059" y="400964"/>
                  </a:cubicBezTo>
                  <a:cubicBezTo>
                    <a:pt x="572201" y="384673"/>
                    <a:pt x="596356" y="375422"/>
                    <a:pt x="621487" y="374752"/>
                  </a:cubicBezTo>
                  <a:lnTo>
                    <a:pt x="621487" y="428854"/>
                  </a:lnTo>
                  <a:cubicBezTo>
                    <a:pt x="615376" y="428610"/>
                    <a:pt x="609295" y="429707"/>
                    <a:pt x="603656" y="432054"/>
                  </a:cubicBezTo>
                  <a:cubicBezTo>
                    <a:pt x="597499" y="435285"/>
                    <a:pt x="591754" y="439278"/>
                    <a:pt x="586587" y="443941"/>
                  </a:cubicBezTo>
                  <a:cubicBezTo>
                    <a:pt x="579577" y="449275"/>
                    <a:pt x="574091" y="453390"/>
                    <a:pt x="569823" y="456286"/>
                  </a:cubicBezTo>
                  <a:cubicBezTo>
                    <a:pt x="563240" y="460218"/>
                    <a:pt x="556168" y="463296"/>
                    <a:pt x="548792" y="465430"/>
                  </a:cubicBezTo>
                  <a:cubicBezTo>
                    <a:pt x="539328" y="468463"/>
                    <a:pt x="529468" y="470063"/>
                    <a:pt x="519532" y="470154"/>
                  </a:cubicBezTo>
                  <a:close/>
                  <a:moveTo>
                    <a:pt x="519074" y="595122"/>
                  </a:moveTo>
                  <a:cubicBezTo>
                    <a:pt x="493623" y="594513"/>
                    <a:pt x="469148" y="585216"/>
                    <a:pt x="449732" y="568757"/>
                  </a:cubicBezTo>
                  <a:cubicBezTo>
                    <a:pt x="446318" y="565679"/>
                    <a:pt x="442767" y="562783"/>
                    <a:pt x="439064" y="560070"/>
                  </a:cubicBezTo>
                  <a:cubicBezTo>
                    <a:pt x="435955" y="558196"/>
                    <a:pt x="432633" y="556702"/>
                    <a:pt x="429158" y="555651"/>
                  </a:cubicBezTo>
                  <a:cubicBezTo>
                    <a:pt x="424495" y="554325"/>
                    <a:pt x="419679" y="553670"/>
                    <a:pt x="414833" y="553670"/>
                  </a:cubicBezTo>
                  <a:cubicBezTo>
                    <a:pt x="408676" y="553426"/>
                    <a:pt x="402549" y="554523"/>
                    <a:pt x="396849" y="556870"/>
                  </a:cubicBezTo>
                  <a:cubicBezTo>
                    <a:pt x="390708" y="560146"/>
                    <a:pt x="384977" y="564139"/>
                    <a:pt x="379781" y="568757"/>
                  </a:cubicBezTo>
                  <a:cubicBezTo>
                    <a:pt x="340705" y="603611"/>
                    <a:pt x="281696" y="603611"/>
                    <a:pt x="242621" y="568757"/>
                  </a:cubicBezTo>
                  <a:cubicBezTo>
                    <a:pt x="237744" y="564642"/>
                    <a:pt x="234239" y="561747"/>
                    <a:pt x="231800" y="560070"/>
                  </a:cubicBezTo>
                  <a:cubicBezTo>
                    <a:pt x="228707" y="558165"/>
                    <a:pt x="225384" y="556672"/>
                    <a:pt x="221894" y="555651"/>
                  </a:cubicBezTo>
                  <a:cubicBezTo>
                    <a:pt x="217490" y="554355"/>
                    <a:pt x="212918" y="553685"/>
                    <a:pt x="208331" y="553670"/>
                  </a:cubicBezTo>
                  <a:cubicBezTo>
                    <a:pt x="202067" y="553350"/>
                    <a:pt x="195819" y="554447"/>
                    <a:pt x="190043" y="556870"/>
                  </a:cubicBezTo>
                  <a:cubicBezTo>
                    <a:pt x="184084" y="560207"/>
                    <a:pt x="178521" y="564201"/>
                    <a:pt x="173431" y="568757"/>
                  </a:cubicBezTo>
                  <a:cubicBezTo>
                    <a:pt x="134356" y="603611"/>
                    <a:pt x="75347" y="603611"/>
                    <a:pt x="36271" y="568757"/>
                  </a:cubicBezTo>
                  <a:cubicBezTo>
                    <a:pt x="31394" y="564642"/>
                    <a:pt x="27889" y="561747"/>
                    <a:pt x="25451" y="560070"/>
                  </a:cubicBezTo>
                  <a:cubicBezTo>
                    <a:pt x="22342" y="558196"/>
                    <a:pt x="19019" y="556702"/>
                    <a:pt x="15545" y="555651"/>
                  </a:cubicBezTo>
                  <a:cubicBezTo>
                    <a:pt x="10881" y="554325"/>
                    <a:pt x="6065" y="553670"/>
                    <a:pt x="1219" y="553670"/>
                  </a:cubicBezTo>
                  <a:lnTo>
                    <a:pt x="1219" y="499567"/>
                  </a:lnTo>
                  <a:cubicBezTo>
                    <a:pt x="26380" y="500253"/>
                    <a:pt x="50536" y="509565"/>
                    <a:pt x="69646" y="525933"/>
                  </a:cubicBezTo>
                  <a:cubicBezTo>
                    <a:pt x="73304" y="528981"/>
                    <a:pt x="76047" y="531267"/>
                    <a:pt x="78029" y="532638"/>
                  </a:cubicBezTo>
                  <a:cubicBezTo>
                    <a:pt x="80315" y="534269"/>
                    <a:pt x="82708" y="535747"/>
                    <a:pt x="85192" y="537058"/>
                  </a:cubicBezTo>
                  <a:cubicBezTo>
                    <a:pt x="88056" y="538567"/>
                    <a:pt x="91150" y="539649"/>
                    <a:pt x="94336" y="540258"/>
                  </a:cubicBezTo>
                  <a:cubicBezTo>
                    <a:pt x="97719" y="540761"/>
                    <a:pt x="101132" y="541020"/>
                    <a:pt x="104546" y="541020"/>
                  </a:cubicBezTo>
                  <a:cubicBezTo>
                    <a:pt x="109392" y="541051"/>
                    <a:pt x="114224" y="540380"/>
                    <a:pt x="118872" y="539039"/>
                  </a:cubicBezTo>
                  <a:cubicBezTo>
                    <a:pt x="122392" y="537972"/>
                    <a:pt x="125760" y="536494"/>
                    <a:pt x="128930" y="534620"/>
                  </a:cubicBezTo>
                  <a:cubicBezTo>
                    <a:pt x="132634" y="531922"/>
                    <a:pt x="136200" y="529011"/>
                    <a:pt x="139598" y="525933"/>
                  </a:cubicBezTo>
                  <a:cubicBezTo>
                    <a:pt x="178674" y="491079"/>
                    <a:pt x="237683" y="491079"/>
                    <a:pt x="276758" y="525933"/>
                  </a:cubicBezTo>
                  <a:cubicBezTo>
                    <a:pt x="280202" y="529026"/>
                    <a:pt x="283814" y="531922"/>
                    <a:pt x="287579" y="534620"/>
                  </a:cubicBezTo>
                  <a:cubicBezTo>
                    <a:pt x="290673" y="536525"/>
                    <a:pt x="293995" y="538018"/>
                    <a:pt x="297485" y="539039"/>
                  </a:cubicBezTo>
                  <a:cubicBezTo>
                    <a:pt x="306857" y="541691"/>
                    <a:pt x="316763" y="541691"/>
                    <a:pt x="326136" y="539039"/>
                  </a:cubicBezTo>
                  <a:cubicBezTo>
                    <a:pt x="329626" y="538018"/>
                    <a:pt x="332948" y="536525"/>
                    <a:pt x="336042" y="534620"/>
                  </a:cubicBezTo>
                  <a:cubicBezTo>
                    <a:pt x="339806" y="531922"/>
                    <a:pt x="343418" y="529026"/>
                    <a:pt x="346862" y="525933"/>
                  </a:cubicBezTo>
                  <a:cubicBezTo>
                    <a:pt x="385937" y="491079"/>
                    <a:pt x="444947" y="491079"/>
                    <a:pt x="484022" y="525933"/>
                  </a:cubicBezTo>
                  <a:cubicBezTo>
                    <a:pt x="485958" y="527975"/>
                    <a:pt x="488107" y="529819"/>
                    <a:pt x="490423" y="531419"/>
                  </a:cubicBezTo>
                  <a:lnTo>
                    <a:pt x="496366" y="535381"/>
                  </a:lnTo>
                  <a:cubicBezTo>
                    <a:pt x="498287" y="536845"/>
                    <a:pt x="500451" y="537926"/>
                    <a:pt x="502767" y="538582"/>
                  </a:cubicBezTo>
                  <a:cubicBezTo>
                    <a:pt x="505114" y="539283"/>
                    <a:pt x="507507" y="539831"/>
                    <a:pt x="509930" y="540258"/>
                  </a:cubicBezTo>
                  <a:cubicBezTo>
                    <a:pt x="512948" y="540746"/>
                    <a:pt x="516011" y="541005"/>
                    <a:pt x="519074" y="541020"/>
                  </a:cubicBezTo>
                  <a:cubicBezTo>
                    <a:pt x="525186" y="541249"/>
                    <a:pt x="531266" y="540152"/>
                    <a:pt x="536905" y="537820"/>
                  </a:cubicBezTo>
                  <a:cubicBezTo>
                    <a:pt x="543062" y="534589"/>
                    <a:pt x="548807" y="530596"/>
                    <a:pt x="553974" y="525933"/>
                  </a:cubicBezTo>
                  <a:cubicBezTo>
                    <a:pt x="573100" y="509595"/>
                    <a:pt x="597256" y="500284"/>
                    <a:pt x="622402" y="499567"/>
                  </a:cubicBezTo>
                  <a:lnTo>
                    <a:pt x="622402" y="553670"/>
                  </a:lnTo>
                  <a:cubicBezTo>
                    <a:pt x="616290" y="553426"/>
                    <a:pt x="610209" y="554523"/>
                    <a:pt x="604571" y="556870"/>
                  </a:cubicBezTo>
                  <a:cubicBezTo>
                    <a:pt x="598414" y="560101"/>
                    <a:pt x="592668" y="564094"/>
                    <a:pt x="587502" y="568757"/>
                  </a:cubicBezTo>
                  <a:cubicBezTo>
                    <a:pt x="580492" y="574091"/>
                    <a:pt x="575005" y="578206"/>
                    <a:pt x="570738" y="581101"/>
                  </a:cubicBezTo>
                  <a:cubicBezTo>
                    <a:pt x="564200" y="585156"/>
                    <a:pt x="557113" y="588295"/>
                    <a:pt x="549706" y="590398"/>
                  </a:cubicBezTo>
                  <a:cubicBezTo>
                    <a:pt x="539938" y="593461"/>
                    <a:pt x="529773" y="595046"/>
                    <a:pt x="519532" y="595122"/>
                  </a:cubicBezTo>
                  <a:close/>
                </a:path>
              </a:pathLst>
            </a:custGeom>
            <a:solidFill>
              <a:srgbClr val="8FCAE7"/>
            </a:solidFill>
            <a:ln w="15240" cap="flat">
              <a:noFill/>
              <a:prstDash val="solid"/>
              <a:miter/>
            </a:ln>
          </p:spPr>
          <p:txBody>
            <a:bodyPr rtlCol="0" anchor="ctr"/>
            <a:lstStyle/>
            <a:p>
              <a:endParaRPr lang="nl-NL"/>
            </a:p>
          </p:txBody>
        </p:sp>
        <p:sp>
          <p:nvSpPr>
            <p:cNvPr id="20" name="Vrije vorm: vorm 19">
              <a:extLst>
                <a:ext uri="{FF2B5EF4-FFF2-40B4-BE49-F238E27FC236}">
                  <a16:creationId xmlns:a16="http://schemas.microsoft.com/office/drawing/2014/main" id="{0F2536CA-8039-409B-B486-B1DE51B40051}"/>
                </a:ext>
              </a:extLst>
            </p:cNvPr>
            <p:cNvSpPr/>
            <p:nvPr/>
          </p:nvSpPr>
          <p:spPr>
            <a:xfrm>
              <a:off x="3417382" y="5594755"/>
              <a:ext cx="623503" cy="595122"/>
            </a:xfrm>
            <a:custGeom>
              <a:avLst/>
              <a:gdLst>
                <a:gd name="connsiteX0" fmla="*/ 16495 w 623503"/>
                <a:gd name="connsiteY0" fmla="*/ 16459 h 595122"/>
                <a:gd name="connsiteX1" fmla="*/ 92999 w 623503"/>
                <a:gd name="connsiteY1" fmla="*/ 16459 h 595122"/>
                <a:gd name="connsiteX2" fmla="*/ 108849 w 623503"/>
                <a:gd name="connsiteY2" fmla="*/ 54712 h 595122"/>
                <a:gd name="connsiteX3" fmla="*/ 645 w 623503"/>
                <a:gd name="connsiteY3" fmla="*/ 54712 h 595122"/>
                <a:gd name="connsiteX4" fmla="*/ 16495 w 623503"/>
                <a:gd name="connsiteY4" fmla="*/ 16459 h 595122"/>
                <a:gd name="connsiteX5" fmla="*/ 16495 w 623503"/>
                <a:gd name="connsiteY5" fmla="*/ 124664 h 595122"/>
                <a:gd name="connsiteX6" fmla="*/ 92999 w 623503"/>
                <a:gd name="connsiteY6" fmla="*/ 124664 h 595122"/>
                <a:gd name="connsiteX7" fmla="*/ 108849 w 623503"/>
                <a:gd name="connsiteY7" fmla="*/ 162916 h 595122"/>
                <a:gd name="connsiteX8" fmla="*/ 645 w 623503"/>
                <a:gd name="connsiteY8" fmla="*/ 162916 h 595122"/>
                <a:gd name="connsiteX9" fmla="*/ 16495 w 623503"/>
                <a:gd name="connsiteY9" fmla="*/ 124664 h 595122"/>
                <a:gd name="connsiteX10" fmla="*/ 16495 w 623503"/>
                <a:gd name="connsiteY10" fmla="*/ 232868 h 595122"/>
                <a:gd name="connsiteX11" fmla="*/ 92999 w 623503"/>
                <a:gd name="connsiteY11" fmla="*/ 232868 h 595122"/>
                <a:gd name="connsiteX12" fmla="*/ 108849 w 623503"/>
                <a:gd name="connsiteY12" fmla="*/ 271120 h 595122"/>
                <a:gd name="connsiteX13" fmla="*/ 645 w 623503"/>
                <a:gd name="connsiteY13" fmla="*/ 271120 h 595122"/>
                <a:gd name="connsiteX14" fmla="*/ 16495 w 623503"/>
                <a:gd name="connsiteY14" fmla="*/ 232868 h 595122"/>
                <a:gd name="connsiteX15" fmla="*/ 16495 w 623503"/>
                <a:gd name="connsiteY15" fmla="*/ 341071 h 595122"/>
                <a:gd name="connsiteX16" fmla="*/ 92999 w 623503"/>
                <a:gd name="connsiteY16" fmla="*/ 341071 h 595122"/>
                <a:gd name="connsiteX17" fmla="*/ 108849 w 623503"/>
                <a:gd name="connsiteY17" fmla="*/ 379324 h 595122"/>
                <a:gd name="connsiteX18" fmla="*/ 645 w 623503"/>
                <a:gd name="connsiteY18" fmla="*/ 379324 h 595122"/>
                <a:gd name="connsiteX19" fmla="*/ 16495 w 623503"/>
                <a:gd name="connsiteY19" fmla="*/ 341071 h 595122"/>
                <a:gd name="connsiteX20" fmla="*/ 54747 w 623503"/>
                <a:gd name="connsiteY20" fmla="*/ 433426 h 595122"/>
                <a:gd name="connsiteX21" fmla="*/ 75473 w 623503"/>
                <a:gd name="connsiteY21" fmla="*/ 437388 h 595122"/>
                <a:gd name="connsiteX22" fmla="*/ 92999 w 623503"/>
                <a:gd name="connsiteY22" fmla="*/ 449275 h 595122"/>
                <a:gd name="connsiteX23" fmla="*/ 104125 w 623503"/>
                <a:gd name="connsiteY23" fmla="*/ 466040 h 595122"/>
                <a:gd name="connsiteX24" fmla="*/ 108849 w 623503"/>
                <a:gd name="connsiteY24" fmla="*/ 487528 h 595122"/>
                <a:gd name="connsiteX25" fmla="*/ 645 w 623503"/>
                <a:gd name="connsiteY25" fmla="*/ 487528 h 595122"/>
                <a:gd name="connsiteX26" fmla="*/ 54747 w 623503"/>
                <a:gd name="connsiteY26" fmla="*/ 433426 h 595122"/>
                <a:gd name="connsiteX27" fmla="*/ 54747 w 623503"/>
                <a:gd name="connsiteY27" fmla="*/ 541630 h 595122"/>
                <a:gd name="connsiteX28" fmla="*/ 92999 w 623503"/>
                <a:gd name="connsiteY28" fmla="*/ 556870 h 595122"/>
                <a:gd name="connsiteX29" fmla="*/ 108239 w 623503"/>
                <a:gd name="connsiteY29" fmla="*/ 595122 h 595122"/>
                <a:gd name="connsiteX30" fmla="*/ 35 w 623503"/>
                <a:gd name="connsiteY30" fmla="*/ 595122 h 595122"/>
                <a:gd name="connsiteX31" fmla="*/ 15275 w 623503"/>
                <a:gd name="connsiteY31" fmla="*/ 556565 h 595122"/>
                <a:gd name="connsiteX32" fmla="*/ 54747 w 623503"/>
                <a:gd name="connsiteY32" fmla="*/ 541630 h 595122"/>
                <a:gd name="connsiteX33" fmla="*/ 183677 w 623503"/>
                <a:gd name="connsiteY33" fmla="*/ 610 h 595122"/>
                <a:gd name="connsiteX34" fmla="*/ 237779 w 623503"/>
                <a:gd name="connsiteY34" fmla="*/ 54712 h 595122"/>
                <a:gd name="connsiteX35" fmla="*/ 129575 w 623503"/>
                <a:gd name="connsiteY35" fmla="*/ 54712 h 595122"/>
                <a:gd name="connsiteX36" fmla="*/ 144815 w 623503"/>
                <a:gd name="connsiteY36" fmla="*/ 16459 h 595122"/>
                <a:gd name="connsiteX37" fmla="*/ 183677 w 623503"/>
                <a:gd name="connsiteY37" fmla="*/ 610 h 595122"/>
                <a:gd name="connsiteX38" fmla="*/ 183677 w 623503"/>
                <a:gd name="connsiteY38" fmla="*/ 108814 h 595122"/>
                <a:gd name="connsiteX39" fmla="*/ 237779 w 623503"/>
                <a:gd name="connsiteY39" fmla="*/ 162916 h 595122"/>
                <a:gd name="connsiteX40" fmla="*/ 129575 w 623503"/>
                <a:gd name="connsiteY40" fmla="*/ 162916 h 595122"/>
                <a:gd name="connsiteX41" fmla="*/ 144815 w 623503"/>
                <a:gd name="connsiteY41" fmla="*/ 124664 h 595122"/>
                <a:gd name="connsiteX42" fmla="*/ 183677 w 623503"/>
                <a:gd name="connsiteY42" fmla="*/ 108814 h 595122"/>
                <a:gd name="connsiteX43" fmla="*/ 183677 w 623503"/>
                <a:gd name="connsiteY43" fmla="*/ 217018 h 595122"/>
                <a:gd name="connsiteX44" fmla="*/ 237779 w 623503"/>
                <a:gd name="connsiteY44" fmla="*/ 271120 h 595122"/>
                <a:gd name="connsiteX45" fmla="*/ 129575 w 623503"/>
                <a:gd name="connsiteY45" fmla="*/ 271120 h 595122"/>
                <a:gd name="connsiteX46" fmla="*/ 144815 w 623503"/>
                <a:gd name="connsiteY46" fmla="*/ 232868 h 595122"/>
                <a:gd name="connsiteX47" fmla="*/ 183677 w 623503"/>
                <a:gd name="connsiteY47" fmla="*/ 217018 h 595122"/>
                <a:gd name="connsiteX48" fmla="*/ 183677 w 623503"/>
                <a:gd name="connsiteY48" fmla="*/ 325222 h 595122"/>
                <a:gd name="connsiteX49" fmla="*/ 237779 w 623503"/>
                <a:gd name="connsiteY49" fmla="*/ 379324 h 595122"/>
                <a:gd name="connsiteX50" fmla="*/ 129575 w 623503"/>
                <a:gd name="connsiteY50" fmla="*/ 379324 h 595122"/>
                <a:gd name="connsiteX51" fmla="*/ 144815 w 623503"/>
                <a:gd name="connsiteY51" fmla="*/ 341071 h 595122"/>
                <a:gd name="connsiteX52" fmla="*/ 183677 w 623503"/>
                <a:gd name="connsiteY52" fmla="*/ 325222 h 595122"/>
                <a:gd name="connsiteX53" fmla="*/ 183677 w 623503"/>
                <a:gd name="connsiteY53" fmla="*/ 433426 h 595122"/>
                <a:gd name="connsiteX54" fmla="*/ 204251 w 623503"/>
                <a:gd name="connsiteY54" fmla="*/ 437388 h 595122"/>
                <a:gd name="connsiteX55" fmla="*/ 221015 w 623503"/>
                <a:gd name="connsiteY55" fmla="*/ 449275 h 595122"/>
                <a:gd name="connsiteX56" fmla="*/ 232902 w 623503"/>
                <a:gd name="connsiteY56" fmla="*/ 466040 h 595122"/>
                <a:gd name="connsiteX57" fmla="*/ 237779 w 623503"/>
                <a:gd name="connsiteY57" fmla="*/ 487528 h 595122"/>
                <a:gd name="connsiteX58" fmla="*/ 129575 w 623503"/>
                <a:gd name="connsiteY58" fmla="*/ 487528 h 595122"/>
                <a:gd name="connsiteX59" fmla="*/ 144815 w 623503"/>
                <a:gd name="connsiteY59" fmla="*/ 449275 h 595122"/>
                <a:gd name="connsiteX60" fmla="*/ 183677 w 623503"/>
                <a:gd name="connsiteY60" fmla="*/ 433426 h 595122"/>
                <a:gd name="connsiteX61" fmla="*/ 183677 w 623503"/>
                <a:gd name="connsiteY61" fmla="*/ 541630 h 595122"/>
                <a:gd name="connsiteX62" fmla="*/ 221777 w 623503"/>
                <a:gd name="connsiteY62" fmla="*/ 556870 h 595122"/>
                <a:gd name="connsiteX63" fmla="*/ 237779 w 623503"/>
                <a:gd name="connsiteY63" fmla="*/ 595122 h 595122"/>
                <a:gd name="connsiteX64" fmla="*/ 129575 w 623503"/>
                <a:gd name="connsiteY64" fmla="*/ 595122 h 595122"/>
                <a:gd name="connsiteX65" fmla="*/ 181208 w 623503"/>
                <a:gd name="connsiteY65" fmla="*/ 541020 h 595122"/>
                <a:gd name="connsiteX66" fmla="*/ 183677 w 623503"/>
                <a:gd name="connsiteY66" fmla="*/ 541020 h 595122"/>
                <a:gd name="connsiteX67" fmla="*/ 273593 w 623503"/>
                <a:gd name="connsiteY67" fmla="*/ 16459 h 595122"/>
                <a:gd name="connsiteX68" fmla="*/ 350098 w 623503"/>
                <a:gd name="connsiteY68" fmla="*/ 16764 h 595122"/>
                <a:gd name="connsiteX69" fmla="*/ 365795 w 623503"/>
                <a:gd name="connsiteY69" fmla="*/ 54712 h 595122"/>
                <a:gd name="connsiteX70" fmla="*/ 257591 w 623503"/>
                <a:gd name="connsiteY70" fmla="*/ 54712 h 595122"/>
                <a:gd name="connsiteX71" fmla="*/ 273593 w 623503"/>
                <a:gd name="connsiteY71" fmla="*/ 16459 h 595122"/>
                <a:gd name="connsiteX72" fmla="*/ 273593 w 623503"/>
                <a:gd name="connsiteY72" fmla="*/ 124664 h 595122"/>
                <a:gd name="connsiteX73" fmla="*/ 350098 w 623503"/>
                <a:gd name="connsiteY73" fmla="*/ 124968 h 595122"/>
                <a:gd name="connsiteX74" fmla="*/ 365795 w 623503"/>
                <a:gd name="connsiteY74" fmla="*/ 162916 h 595122"/>
                <a:gd name="connsiteX75" fmla="*/ 257591 w 623503"/>
                <a:gd name="connsiteY75" fmla="*/ 162916 h 595122"/>
                <a:gd name="connsiteX76" fmla="*/ 273593 w 623503"/>
                <a:gd name="connsiteY76" fmla="*/ 124664 h 595122"/>
                <a:gd name="connsiteX77" fmla="*/ 273593 w 623503"/>
                <a:gd name="connsiteY77" fmla="*/ 232868 h 595122"/>
                <a:gd name="connsiteX78" fmla="*/ 350098 w 623503"/>
                <a:gd name="connsiteY78" fmla="*/ 233172 h 595122"/>
                <a:gd name="connsiteX79" fmla="*/ 365795 w 623503"/>
                <a:gd name="connsiteY79" fmla="*/ 271120 h 595122"/>
                <a:gd name="connsiteX80" fmla="*/ 257591 w 623503"/>
                <a:gd name="connsiteY80" fmla="*/ 271120 h 595122"/>
                <a:gd name="connsiteX81" fmla="*/ 273593 w 623503"/>
                <a:gd name="connsiteY81" fmla="*/ 232868 h 595122"/>
                <a:gd name="connsiteX82" fmla="*/ 273593 w 623503"/>
                <a:gd name="connsiteY82" fmla="*/ 341071 h 595122"/>
                <a:gd name="connsiteX83" fmla="*/ 350098 w 623503"/>
                <a:gd name="connsiteY83" fmla="*/ 341376 h 595122"/>
                <a:gd name="connsiteX84" fmla="*/ 365795 w 623503"/>
                <a:gd name="connsiteY84" fmla="*/ 379324 h 595122"/>
                <a:gd name="connsiteX85" fmla="*/ 257591 w 623503"/>
                <a:gd name="connsiteY85" fmla="*/ 379324 h 595122"/>
                <a:gd name="connsiteX86" fmla="*/ 273593 w 623503"/>
                <a:gd name="connsiteY86" fmla="*/ 341071 h 595122"/>
                <a:gd name="connsiteX87" fmla="*/ 311693 w 623503"/>
                <a:gd name="connsiteY87" fmla="*/ 433426 h 595122"/>
                <a:gd name="connsiteX88" fmla="*/ 332420 w 623503"/>
                <a:gd name="connsiteY88" fmla="*/ 437388 h 595122"/>
                <a:gd name="connsiteX89" fmla="*/ 349946 w 623503"/>
                <a:gd name="connsiteY89" fmla="*/ 449275 h 595122"/>
                <a:gd name="connsiteX90" fmla="*/ 361833 w 623503"/>
                <a:gd name="connsiteY90" fmla="*/ 466040 h 595122"/>
                <a:gd name="connsiteX91" fmla="*/ 365795 w 623503"/>
                <a:gd name="connsiteY91" fmla="*/ 487528 h 595122"/>
                <a:gd name="connsiteX92" fmla="*/ 257591 w 623503"/>
                <a:gd name="connsiteY92" fmla="*/ 487528 h 595122"/>
                <a:gd name="connsiteX93" fmla="*/ 311693 w 623503"/>
                <a:gd name="connsiteY93" fmla="*/ 433426 h 595122"/>
                <a:gd name="connsiteX94" fmla="*/ 311693 w 623503"/>
                <a:gd name="connsiteY94" fmla="*/ 541630 h 595122"/>
                <a:gd name="connsiteX95" fmla="*/ 349946 w 623503"/>
                <a:gd name="connsiteY95" fmla="*/ 556870 h 595122"/>
                <a:gd name="connsiteX96" fmla="*/ 365186 w 623503"/>
                <a:gd name="connsiteY96" fmla="*/ 592684 h 595122"/>
                <a:gd name="connsiteX97" fmla="*/ 365186 w 623503"/>
                <a:gd name="connsiteY97" fmla="*/ 595122 h 595122"/>
                <a:gd name="connsiteX98" fmla="*/ 256982 w 623503"/>
                <a:gd name="connsiteY98" fmla="*/ 595122 h 595122"/>
                <a:gd name="connsiteX99" fmla="*/ 272984 w 623503"/>
                <a:gd name="connsiteY99" fmla="*/ 556565 h 595122"/>
                <a:gd name="connsiteX100" fmla="*/ 311693 w 623503"/>
                <a:gd name="connsiteY100" fmla="*/ 541630 h 595122"/>
                <a:gd name="connsiteX101" fmla="*/ 439862 w 623503"/>
                <a:gd name="connsiteY101" fmla="*/ 610 h 595122"/>
                <a:gd name="connsiteX102" fmla="*/ 478876 w 623503"/>
                <a:gd name="connsiteY102" fmla="*/ 15850 h 595122"/>
                <a:gd name="connsiteX103" fmla="*/ 494116 w 623503"/>
                <a:gd name="connsiteY103" fmla="*/ 54102 h 595122"/>
                <a:gd name="connsiteX104" fmla="*/ 385912 w 623503"/>
                <a:gd name="connsiteY104" fmla="*/ 54102 h 595122"/>
                <a:gd name="connsiteX105" fmla="*/ 440014 w 623503"/>
                <a:gd name="connsiteY105" fmla="*/ 0 h 595122"/>
                <a:gd name="connsiteX106" fmla="*/ 439862 w 623503"/>
                <a:gd name="connsiteY106" fmla="*/ 108814 h 595122"/>
                <a:gd name="connsiteX107" fmla="*/ 478876 w 623503"/>
                <a:gd name="connsiteY107" fmla="*/ 124054 h 595122"/>
                <a:gd name="connsiteX108" fmla="*/ 494116 w 623503"/>
                <a:gd name="connsiteY108" fmla="*/ 162306 h 595122"/>
                <a:gd name="connsiteX109" fmla="*/ 385912 w 623503"/>
                <a:gd name="connsiteY109" fmla="*/ 162306 h 595122"/>
                <a:gd name="connsiteX110" fmla="*/ 440014 w 623503"/>
                <a:gd name="connsiteY110" fmla="*/ 108204 h 595122"/>
                <a:gd name="connsiteX111" fmla="*/ 439862 w 623503"/>
                <a:gd name="connsiteY111" fmla="*/ 217018 h 595122"/>
                <a:gd name="connsiteX112" fmla="*/ 478876 w 623503"/>
                <a:gd name="connsiteY112" fmla="*/ 232258 h 595122"/>
                <a:gd name="connsiteX113" fmla="*/ 494116 w 623503"/>
                <a:gd name="connsiteY113" fmla="*/ 270510 h 595122"/>
                <a:gd name="connsiteX114" fmla="*/ 385912 w 623503"/>
                <a:gd name="connsiteY114" fmla="*/ 270510 h 595122"/>
                <a:gd name="connsiteX115" fmla="*/ 440014 w 623503"/>
                <a:gd name="connsiteY115" fmla="*/ 216408 h 595122"/>
                <a:gd name="connsiteX116" fmla="*/ 439862 w 623503"/>
                <a:gd name="connsiteY116" fmla="*/ 325222 h 595122"/>
                <a:gd name="connsiteX117" fmla="*/ 478876 w 623503"/>
                <a:gd name="connsiteY117" fmla="*/ 340462 h 595122"/>
                <a:gd name="connsiteX118" fmla="*/ 494116 w 623503"/>
                <a:gd name="connsiteY118" fmla="*/ 378714 h 595122"/>
                <a:gd name="connsiteX119" fmla="*/ 385912 w 623503"/>
                <a:gd name="connsiteY119" fmla="*/ 378714 h 595122"/>
                <a:gd name="connsiteX120" fmla="*/ 440014 w 623503"/>
                <a:gd name="connsiteY120" fmla="*/ 324612 h 595122"/>
                <a:gd name="connsiteX121" fmla="*/ 439862 w 623503"/>
                <a:gd name="connsiteY121" fmla="*/ 433426 h 595122"/>
                <a:gd name="connsiteX122" fmla="*/ 461350 w 623503"/>
                <a:gd name="connsiteY122" fmla="*/ 437388 h 595122"/>
                <a:gd name="connsiteX123" fmla="*/ 477962 w 623503"/>
                <a:gd name="connsiteY123" fmla="*/ 449275 h 595122"/>
                <a:gd name="connsiteX124" fmla="*/ 490001 w 623503"/>
                <a:gd name="connsiteY124" fmla="*/ 466040 h 595122"/>
                <a:gd name="connsiteX125" fmla="*/ 493964 w 623503"/>
                <a:gd name="connsiteY125" fmla="*/ 487528 h 595122"/>
                <a:gd name="connsiteX126" fmla="*/ 385760 w 623503"/>
                <a:gd name="connsiteY126" fmla="*/ 487528 h 595122"/>
                <a:gd name="connsiteX127" fmla="*/ 439862 w 623503"/>
                <a:gd name="connsiteY127" fmla="*/ 433426 h 595122"/>
                <a:gd name="connsiteX128" fmla="*/ 439862 w 623503"/>
                <a:gd name="connsiteY128" fmla="*/ 541630 h 595122"/>
                <a:gd name="connsiteX129" fmla="*/ 478876 w 623503"/>
                <a:gd name="connsiteY129" fmla="*/ 556870 h 595122"/>
                <a:gd name="connsiteX130" fmla="*/ 494116 w 623503"/>
                <a:gd name="connsiteY130" fmla="*/ 595122 h 595122"/>
                <a:gd name="connsiteX131" fmla="*/ 385912 w 623503"/>
                <a:gd name="connsiteY131" fmla="*/ 595122 h 595122"/>
                <a:gd name="connsiteX132" fmla="*/ 401152 w 623503"/>
                <a:gd name="connsiteY132" fmla="*/ 556565 h 595122"/>
                <a:gd name="connsiteX133" fmla="*/ 439862 w 623503"/>
                <a:gd name="connsiteY133" fmla="*/ 541630 h 595122"/>
                <a:gd name="connsiteX134" fmla="*/ 531302 w 623503"/>
                <a:gd name="connsiteY134" fmla="*/ 16459 h 595122"/>
                <a:gd name="connsiteX135" fmla="*/ 607806 w 623503"/>
                <a:gd name="connsiteY135" fmla="*/ 16764 h 595122"/>
                <a:gd name="connsiteX136" fmla="*/ 623504 w 623503"/>
                <a:gd name="connsiteY136" fmla="*/ 54712 h 595122"/>
                <a:gd name="connsiteX137" fmla="*/ 514538 w 623503"/>
                <a:gd name="connsiteY137" fmla="*/ 54712 h 595122"/>
                <a:gd name="connsiteX138" fmla="*/ 530539 w 623503"/>
                <a:gd name="connsiteY138" fmla="*/ 16459 h 595122"/>
                <a:gd name="connsiteX139" fmla="*/ 531302 w 623503"/>
                <a:gd name="connsiteY139" fmla="*/ 124664 h 595122"/>
                <a:gd name="connsiteX140" fmla="*/ 607806 w 623503"/>
                <a:gd name="connsiteY140" fmla="*/ 124968 h 595122"/>
                <a:gd name="connsiteX141" fmla="*/ 623504 w 623503"/>
                <a:gd name="connsiteY141" fmla="*/ 162916 h 595122"/>
                <a:gd name="connsiteX142" fmla="*/ 514538 w 623503"/>
                <a:gd name="connsiteY142" fmla="*/ 162916 h 595122"/>
                <a:gd name="connsiteX143" fmla="*/ 530539 w 623503"/>
                <a:gd name="connsiteY143" fmla="*/ 124664 h 595122"/>
                <a:gd name="connsiteX144" fmla="*/ 569402 w 623503"/>
                <a:gd name="connsiteY144" fmla="*/ 217018 h 595122"/>
                <a:gd name="connsiteX145" fmla="*/ 607654 w 623503"/>
                <a:gd name="connsiteY145" fmla="*/ 232258 h 595122"/>
                <a:gd name="connsiteX146" fmla="*/ 622894 w 623503"/>
                <a:gd name="connsiteY146" fmla="*/ 270510 h 595122"/>
                <a:gd name="connsiteX147" fmla="*/ 514538 w 623503"/>
                <a:gd name="connsiteY147" fmla="*/ 270510 h 595122"/>
                <a:gd name="connsiteX148" fmla="*/ 541665 w 623503"/>
                <a:gd name="connsiteY148" fmla="*/ 223571 h 595122"/>
                <a:gd name="connsiteX149" fmla="*/ 568639 w 623503"/>
                <a:gd name="connsiteY149" fmla="*/ 217018 h 595122"/>
                <a:gd name="connsiteX150" fmla="*/ 531302 w 623503"/>
                <a:gd name="connsiteY150" fmla="*/ 341071 h 595122"/>
                <a:gd name="connsiteX151" fmla="*/ 607791 w 623503"/>
                <a:gd name="connsiteY151" fmla="*/ 342870 h 595122"/>
                <a:gd name="connsiteX152" fmla="*/ 622742 w 623503"/>
                <a:gd name="connsiteY152" fmla="*/ 379324 h 595122"/>
                <a:gd name="connsiteX153" fmla="*/ 514538 w 623503"/>
                <a:gd name="connsiteY153" fmla="*/ 379324 h 595122"/>
                <a:gd name="connsiteX154" fmla="*/ 530539 w 623503"/>
                <a:gd name="connsiteY154" fmla="*/ 341071 h 595122"/>
                <a:gd name="connsiteX155" fmla="*/ 569402 w 623503"/>
                <a:gd name="connsiteY155" fmla="*/ 433426 h 595122"/>
                <a:gd name="connsiteX156" fmla="*/ 590128 w 623503"/>
                <a:gd name="connsiteY156" fmla="*/ 437388 h 595122"/>
                <a:gd name="connsiteX157" fmla="*/ 607654 w 623503"/>
                <a:gd name="connsiteY157" fmla="*/ 449275 h 595122"/>
                <a:gd name="connsiteX158" fmla="*/ 618779 w 623503"/>
                <a:gd name="connsiteY158" fmla="*/ 466040 h 595122"/>
                <a:gd name="connsiteX159" fmla="*/ 623504 w 623503"/>
                <a:gd name="connsiteY159" fmla="*/ 487528 h 595122"/>
                <a:gd name="connsiteX160" fmla="*/ 514538 w 623503"/>
                <a:gd name="connsiteY160" fmla="*/ 487528 h 595122"/>
                <a:gd name="connsiteX161" fmla="*/ 521700 w 623503"/>
                <a:gd name="connsiteY161" fmla="*/ 459639 h 595122"/>
                <a:gd name="connsiteX162" fmla="*/ 568639 w 623503"/>
                <a:gd name="connsiteY162" fmla="*/ 433426 h 595122"/>
                <a:gd name="connsiteX163" fmla="*/ 569402 w 623503"/>
                <a:gd name="connsiteY163" fmla="*/ 541630 h 595122"/>
                <a:gd name="connsiteX164" fmla="*/ 607654 w 623503"/>
                <a:gd name="connsiteY164" fmla="*/ 556870 h 595122"/>
                <a:gd name="connsiteX165" fmla="*/ 622894 w 623503"/>
                <a:gd name="connsiteY165" fmla="*/ 595122 h 595122"/>
                <a:gd name="connsiteX166" fmla="*/ 514538 w 623503"/>
                <a:gd name="connsiteY166" fmla="*/ 595122 h 595122"/>
                <a:gd name="connsiteX167" fmla="*/ 530539 w 623503"/>
                <a:gd name="connsiteY167" fmla="*/ 556565 h 595122"/>
                <a:gd name="connsiteX168" fmla="*/ 568639 w 623503"/>
                <a:gd name="connsiteY168" fmla="*/ 541630 h 59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23503" h="595122">
                  <a:moveTo>
                    <a:pt x="16495" y="16459"/>
                  </a:moveTo>
                  <a:cubicBezTo>
                    <a:pt x="37617" y="-4663"/>
                    <a:pt x="71877" y="-4663"/>
                    <a:pt x="92999" y="16459"/>
                  </a:cubicBezTo>
                  <a:cubicBezTo>
                    <a:pt x="103149" y="26609"/>
                    <a:pt x="108849" y="40371"/>
                    <a:pt x="108849" y="54712"/>
                  </a:cubicBezTo>
                  <a:lnTo>
                    <a:pt x="645" y="54712"/>
                  </a:lnTo>
                  <a:cubicBezTo>
                    <a:pt x="462" y="40325"/>
                    <a:pt x="6192" y="26503"/>
                    <a:pt x="16495" y="16459"/>
                  </a:cubicBezTo>
                  <a:close/>
                  <a:moveTo>
                    <a:pt x="16495" y="124664"/>
                  </a:moveTo>
                  <a:cubicBezTo>
                    <a:pt x="37617" y="103541"/>
                    <a:pt x="71877" y="103541"/>
                    <a:pt x="92999" y="124664"/>
                  </a:cubicBezTo>
                  <a:cubicBezTo>
                    <a:pt x="103149" y="134813"/>
                    <a:pt x="108849" y="148575"/>
                    <a:pt x="108849" y="162916"/>
                  </a:cubicBezTo>
                  <a:lnTo>
                    <a:pt x="645" y="162916"/>
                  </a:lnTo>
                  <a:cubicBezTo>
                    <a:pt x="462" y="148529"/>
                    <a:pt x="6192" y="134707"/>
                    <a:pt x="16495" y="124664"/>
                  </a:cubicBezTo>
                  <a:close/>
                  <a:moveTo>
                    <a:pt x="16495" y="232868"/>
                  </a:moveTo>
                  <a:cubicBezTo>
                    <a:pt x="37617" y="211745"/>
                    <a:pt x="71877" y="211745"/>
                    <a:pt x="92999" y="232868"/>
                  </a:cubicBezTo>
                  <a:cubicBezTo>
                    <a:pt x="103149" y="243017"/>
                    <a:pt x="108849" y="256779"/>
                    <a:pt x="108849" y="271120"/>
                  </a:cubicBezTo>
                  <a:lnTo>
                    <a:pt x="645" y="271120"/>
                  </a:lnTo>
                  <a:cubicBezTo>
                    <a:pt x="462" y="256733"/>
                    <a:pt x="6192" y="242911"/>
                    <a:pt x="16495" y="232868"/>
                  </a:cubicBezTo>
                  <a:close/>
                  <a:moveTo>
                    <a:pt x="16495" y="341071"/>
                  </a:moveTo>
                  <a:cubicBezTo>
                    <a:pt x="37617" y="319949"/>
                    <a:pt x="71877" y="319949"/>
                    <a:pt x="92999" y="341071"/>
                  </a:cubicBezTo>
                  <a:cubicBezTo>
                    <a:pt x="103149" y="351221"/>
                    <a:pt x="108849" y="364983"/>
                    <a:pt x="108849" y="379324"/>
                  </a:cubicBezTo>
                  <a:lnTo>
                    <a:pt x="645" y="379324"/>
                  </a:lnTo>
                  <a:cubicBezTo>
                    <a:pt x="462" y="364937"/>
                    <a:pt x="6192" y="351114"/>
                    <a:pt x="16495" y="341071"/>
                  </a:cubicBezTo>
                  <a:close/>
                  <a:moveTo>
                    <a:pt x="54747" y="433426"/>
                  </a:moveTo>
                  <a:cubicBezTo>
                    <a:pt x="61864" y="433228"/>
                    <a:pt x="68935" y="434569"/>
                    <a:pt x="75473" y="437388"/>
                  </a:cubicBezTo>
                  <a:cubicBezTo>
                    <a:pt x="81935" y="440345"/>
                    <a:pt x="87863" y="444353"/>
                    <a:pt x="92999" y="449275"/>
                  </a:cubicBezTo>
                  <a:cubicBezTo>
                    <a:pt x="97617" y="454213"/>
                    <a:pt x="101366" y="459867"/>
                    <a:pt x="104125" y="466040"/>
                  </a:cubicBezTo>
                  <a:cubicBezTo>
                    <a:pt x="107264" y="472761"/>
                    <a:pt x="108879" y="480106"/>
                    <a:pt x="108849" y="487528"/>
                  </a:cubicBezTo>
                  <a:lnTo>
                    <a:pt x="645" y="487528"/>
                  </a:lnTo>
                  <a:cubicBezTo>
                    <a:pt x="645" y="457642"/>
                    <a:pt x="24861" y="433426"/>
                    <a:pt x="54747" y="433426"/>
                  </a:cubicBezTo>
                  <a:close/>
                  <a:moveTo>
                    <a:pt x="54747" y="541630"/>
                  </a:moveTo>
                  <a:cubicBezTo>
                    <a:pt x="68996" y="541523"/>
                    <a:pt x="82727" y="546995"/>
                    <a:pt x="92999" y="556870"/>
                  </a:cubicBezTo>
                  <a:cubicBezTo>
                    <a:pt x="103256" y="566898"/>
                    <a:pt x="108788" y="580797"/>
                    <a:pt x="108239" y="595122"/>
                  </a:cubicBezTo>
                  <a:lnTo>
                    <a:pt x="35" y="595122"/>
                  </a:lnTo>
                  <a:cubicBezTo>
                    <a:pt x="-498" y="580705"/>
                    <a:pt x="5034" y="566730"/>
                    <a:pt x="15275" y="556565"/>
                  </a:cubicBezTo>
                  <a:cubicBezTo>
                    <a:pt x="25806" y="546339"/>
                    <a:pt x="40086" y="540929"/>
                    <a:pt x="54747" y="541630"/>
                  </a:cubicBezTo>
                  <a:close/>
                  <a:moveTo>
                    <a:pt x="183677" y="610"/>
                  </a:moveTo>
                  <a:cubicBezTo>
                    <a:pt x="213487" y="778"/>
                    <a:pt x="237612" y="24902"/>
                    <a:pt x="237779" y="54712"/>
                  </a:cubicBezTo>
                  <a:lnTo>
                    <a:pt x="129575" y="54712"/>
                  </a:lnTo>
                  <a:cubicBezTo>
                    <a:pt x="129331" y="40432"/>
                    <a:pt x="134818" y="26655"/>
                    <a:pt x="144815" y="16459"/>
                  </a:cubicBezTo>
                  <a:cubicBezTo>
                    <a:pt x="154980" y="5975"/>
                    <a:pt x="169077" y="229"/>
                    <a:pt x="183677" y="610"/>
                  </a:cubicBezTo>
                  <a:close/>
                  <a:moveTo>
                    <a:pt x="183677" y="108814"/>
                  </a:moveTo>
                  <a:cubicBezTo>
                    <a:pt x="213487" y="108981"/>
                    <a:pt x="237612" y="133106"/>
                    <a:pt x="237779" y="162916"/>
                  </a:cubicBezTo>
                  <a:lnTo>
                    <a:pt x="129575" y="162916"/>
                  </a:lnTo>
                  <a:cubicBezTo>
                    <a:pt x="129331" y="148636"/>
                    <a:pt x="134818" y="134859"/>
                    <a:pt x="144815" y="124664"/>
                  </a:cubicBezTo>
                  <a:cubicBezTo>
                    <a:pt x="154980" y="114178"/>
                    <a:pt x="169077" y="108433"/>
                    <a:pt x="183677" y="108814"/>
                  </a:cubicBezTo>
                  <a:close/>
                  <a:moveTo>
                    <a:pt x="183677" y="217018"/>
                  </a:moveTo>
                  <a:cubicBezTo>
                    <a:pt x="213487" y="217185"/>
                    <a:pt x="237612" y="241310"/>
                    <a:pt x="237779" y="271120"/>
                  </a:cubicBezTo>
                  <a:lnTo>
                    <a:pt x="129575" y="271120"/>
                  </a:lnTo>
                  <a:cubicBezTo>
                    <a:pt x="129331" y="256840"/>
                    <a:pt x="134818" y="243063"/>
                    <a:pt x="144815" y="232868"/>
                  </a:cubicBezTo>
                  <a:cubicBezTo>
                    <a:pt x="154980" y="222382"/>
                    <a:pt x="169077" y="216637"/>
                    <a:pt x="183677" y="217018"/>
                  </a:cubicBezTo>
                  <a:close/>
                  <a:moveTo>
                    <a:pt x="183677" y="325222"/>
                  </a:moveTo>
                  <a:cubicBezTo>
                    <a:pt x="213487" y="325390"/>
                    <a:pt x="237612" y="349515"/>
                    <a:pt x="237779" y="379324"/>
                  </a:cubicBezTo>
                  <a:lnTo>
                    <a:pt x="129575" y="379324"/>
                  </a:lnTo>
                  <a:cubicBezTo>
                    <a:pt x="129331" y="365044"/>
                    <a:pt x="134818" y="351267"/>
                    <a:pt x="144815" y="341071"/>
                  </a:cubicBezTo>
                  <a:cubicBezTo>
                    <a:pt x="154980" y="330586"/>
                    <a:pt x="169077" y="324841"/>
                    <a:pt x="183677" y="325222"/>
                  </a:cubicBezTo>
                  <a:close/>
                  <a:moveTo>
                    <a:pt x="183677" y="433426"/>
                  </a:moveTo>
                  <a:cubicBezTo>
                    <a:pt x="190749" y="433091"/>
                    <a:pt x="197805" y="434447"/>
                    <a:pt x="204251" y="437388"/>
                  </a:cubicBezTo>
                  <a:cubicBezTo>
                    <a:pt x="210378" y="440528"/>
                    <a:pt x="216032" y="444521"/>
                    <a:pt x="221015" y="449275"/>
                  </a:cubicBezTo>
                  <a:cubicBezTo>
                    <a:pt x="226105" y="453970"/>
                    <a:pt x="230159" y="459685"/>
                    <a:pt x="232902" y="466040"/>
                  </a:cubicBezTo>
                  <a:cubicBezTo>
                    <a:pt x="236103" y="472761"/>
                    <a:pt x="237764" y="480091"/>
                    <a:pt x="237779" y="487528"/>
                  </a:cubicBezTo>
                  <a:lnTo>
                    <a:pt x="129575" y="487528"/>
                  </a:lnTo>
                  <a:cubicBezTo>
                    <a:pt x="129331" y="473248"/>
                    <a:pt x="134818" y="459471"/>
                    <a:pt x="144815" y="449275"/>
                  </a:cubicBezTo>
                  <a:cubicBezTo>
                    <a:pt x="154980" y="438791"/>
                    <a:pt x="169077" y="433045"/>
                    <a:pt x="183677" y="433426"/>
                  </a:cubicBezTo>
                  <a:close/>
                  <a:moveTo>
                    <a:pt x="183677" y="541630"/>
                  </a:moveTo>
                  <a:cubicBezTo>
                    <a:pt x="197896" y="541493"/>
                    <a:pt x="211582" y="546964"/>
                    <a:pt x="221777" y="556870"/>
                  </a:cubicBezTo>
                  <a:cubicBezTo>
                    <a:pt x="232354" y="566730"/>
                    <a:pt x="238175" y="580675"/>
                    <a:pt x="237779" y="595122"/>
                  </a:cubicBezTo>
                  <a:lnTo>
                    <a:pt x="129575" y="595122"/>
                  </a:lnTo>
                  <a:cubicBezTo>
                    <a:pt x="128890" y="565922"/>
                    <a:pt x="152009" y="541706"/>
                    <a:pt x="181208" y="541020"/>
                  </a:cubicBezTo>
                  <a:cubicBezTo>
                    <a:pt x="182031" y="541005"/>
                    <a:pt x="182854" y="541005"/>
                    <a:pt x="183677" y="541020"/>
                  </a:cubicBezTo>
                  <a:close/>
                  <a:moveTo>
                    <a:pt x="273593" y="16459"/>
                  </a:moveTo>
                  <a:cubicBezTo>
                    <a:pt x="294807" y="-4587"/>
                    <a:pt x="329067" y="-4450"/>
                    <a:pt x="350098" y="16764"/>
                  </a:cubicBezTo>
                  <a:cubicBezTo>
                    <a:pt x="360111" y="26868"/>
                    <a:pt x="365750" y="40493"/>
                    <a:pt x="365795" y="54712"/>
                  </a:cubicBezTo>
                  <a:lnTo>
                    <a:pt x="257591" y="54712"/>
                  </a:lnTo>
                  <a:cubicBezTo>
                    <a:pt x="257393" y="40295"/>
                    <a:pt x="263184" y="26442"/>
                    <a:pt x="273593" y="16459"/>
                  </a:cubicBezTo>
                  <a:close/>
                  <a:moveTo>
                    <a:pt x="273593" y="124664"/>
                  </a:moveTo>
                  <a:cubicBezTo>
                    <a:pt x="294807" y="103617"/>
                    <a:pt x="329067" y="103754"/>
                    <a:pt x="350098" y="124968"/>
                  </a:cubicBezTo>
                  <a:cubicBezTo>
                    <a:pt x="360111" y="135072"/>
                    <a:pt x="365750" y="148697"/>
                    <a:pt x="365795" y="162916"/>
                  </a:cubicBezTo>
                  <a:lnTo>
                    <a:pt x="257591" y="162916"/>
                  </a:lnTo>
                  <a:cubicBezTo>
                    <a:pt x="257393" y="148499"/>
                    <a:pt x="263184" y="134646"/>
                    <a:pt x="273593" y="124664"/>
                  </a:cubicBezTo>
                  <a:close/>
                  <a:moveTo>
                    <a:pt x="273593" y="232868"/>
                  </a:moveTo>
                  <a:cubicBezTo>
                    <a:pt x="294807" y="211821"/>
                    <a:pt x="329067" y="211958"/>
                    <a:pt x="350098" y="233172"/>
                  </a:cubicBezTo>
                  <a:cubicBezTo>
                    <a:pt x="360111" y="243276"/>
                    <a:pt x="365750" y="256901"/>
                    <a:pt x="365795" y="271120"/>
                  </a:cubicBezTo>
                  <a:lnTo>
                    <a:pt x="257591" y="271120"/>
                  </a:lnTo>
                  <a:cubicBezTo>
                    <a:pt x="257393" y="256703"/>
                    <a:pt x="263184" y="242850"/>
                    <a:pt x="273593" y="232868"/>
                  </a:cubicBezTo>
                  <a:close/>
                  <a:moveTo>
                    <a:pt x="273593" y="341071"/>
                  </a:moveTo>
                  <a:cubicBezTo>
                    <a:pt x="294807" y="320025"/>
                    <a:pt x="329067" y="320162"/>
                    <a:pt x="350098" y="341376"/>
                  </a:cubicBezTo>
                  <a:cubicBezTo>
                    <a:pt x="360111" y="351480"/>
                    <a:pt x="365750" y="365105"/>
                    <a:pt x="365795" y="379324"/>
                  </a:cubicBezTo>
                  <a:lnTo>
                    <a:pt x="257591" y="379324"/>
                  </a:lnTo>
                  <a:cubicBezTo>
                    <a:pt x="257393" y="364907"/>
                    <a:pt x="263184" y="351054"/>
                    <a:pt x="273593" y="341071"/>
                  </a:cubicBezTo>
                  <a:close/>
                  <a:moveTo>
                    <a:pt x="311693" y="433426"/>
                  </a:moveTo>
                  <a:cubicBezTo>
                    <a:pt x="318810" y="433213"/>
                    <a:pt x="325882" y="434554"/>
                    <a:pt x="332420" y="437388"/>
                  </a:cubicBezTo>
                  <a:cubicBezTo>
                    <a:pt x="338881" y="440345"/>
                    <a:pt x="344810" y="444353"/>
                    <a:pt x="349946" y="449275"/>
                  </a:cubicBezTo>
                  <a:cubicBezTo>
                    <a:pt x="354960" y="454046"/>
                    <a:pt x="358998" y="459730"/>
                    <a:pt x="361833" y="466040"/>
                  </a:cubicBezTo>
                  <a:cubicBezTo>
                    <a:pt x="364530" y="472882"/>
                    <a:pt x="365871" y="480182"/>
                    <a:pt x="365795" y="487528"/>
                  </a:cubicBezTo>
                  <a:lnTo>
                    <a:pt x="257591" y="487528"/>
                  </a:lnTo>
                  <a:cubicBezTo>
                    <a:pt x="257759" y="457719"/>
                    <a:pt x="281884" y="433594"/>
                    <a:pt x="311693" y="433426"/>
                  </a:cubicBezTo>
                  <a:close/>
                  <a:moveTo>
                    <a:pt x="311693" y="541630"/>
                  </a:moveTo>
                  <a:cubicBezTo>
                    <a:pt x="325912" y="541691"/>
                    <a:pt x="339583" y="547131"/>
                    <a:pt x="349946" y="556870"/>
                  </a:cubicBezTo>
                  <a:cubicBezTo>
                    <a:pt x="360019" y="565999"/>
                    <a:pt x="365582" y="579090"/>
                    <a:pt x="365186" y="592684"/>
                  </a:cubicBezTo>
                  <a:lnTo>
                    <a:pt x="365186" y="595122"/>
                  </a:lnTo>
                  <a:lnTo>
                    <a:pt x="256982" y="595122"/>
                  </a:lnTo>
                  <a:cubicBezTo>
                    <a:pt x="256601" y="580583"/>
                    <a:pt x="262422" y="566563"/>
                    <a:pt x="272984" y="556565"/>
                  </a:cubicBezTo>
                  <a:cubicBezTo>
                    <a:pt x="283286" y="546476"/>
                    <a:pt x="297291" y="541066"/>
                    <a:pt x="311693" y="541630"/>
                  </a:cubicBezTo>
                  <a:close/>
                  <a:moveTo>
                    <a:pt x="439862" y="610"/>
                  </a:moveTo>
                  <a:cubicBezTo>
                    <a:pt x="454431" y="-15"/>
                    <a:pt x="468589" y="5517"/>
                    <a:pt x="478876" y="15850"/>
                  </a:cubicBezTo>
                  <a:cubicBezTo>
                    <a:pt x="488843" y="26061"/>
                    <a:pt x="494330" y="39838"/>
                    <a:pt x="494116" y="54102"/>
                  </a:cubicBezTo>
                  <a:lnTo>
                    <a:pt x="385912" y="54102"/>
                  </a:lnTo>
                  <a:cubicBezTo>
                    <a:pt x="385912" y="24217"/>
                    <a:pt x="410128" y="0"/>
                    <a:pt x="440014" y="0"/>
                  </a:cubicBezTo>
                  <a:close/>
                  <a:moveTo>
                    <a:pt x="439862" y="108814"/>
                  </a:moveTo>
                  <a:cubicBezTo>
                    <a:pt x="454431" y="108189"/>
                    <a:pt x="468589" y="113721"/>
                    <a:pt x="478876" y="124054"/>
                  </a:cubicBezTo>
                  <a:cubicBezTo>
                    <a:pt x="488843" y="134265"/>
                    <a:pt x="494330" y="148042"/>
                    <a:pt x="494116" y="162306"/>
                  </a:cubicBezTo>
                  <a:lnTo>
                    <a:pt x="385912" y="162306"/>
                  </a:lnTo>
                  <a:cubicBezTo>
                    <a:pt x="385912" y="132421"/>
                    <a:pt x="410128" y="108204"/>
                    <a:pt x="440014" y="108204"/>
                  </a:cubicBezTo>
                  <a:close/>
                  <a:moveTo>
                    <a:pt x="439862" y="217018"/>
                  </a:moveTo>
                  <a:cubicBezTo>
                    <a:pt x="454431" y="216393"/>
                    <a:pt x="468589" y="221925"/>
                    <a:pt x="478876" y="232258"/>
                  </a:cubicBezTo>
                  <a:cubicBezTo>
                    <a:pt x="488843" y="242468"/>
                    <a:pt x="494330" y="256246"/>
                    <a:pt x="494116" y="270510"/>
                  </a:cubicBezTo>
                  <a:lnTo>
                    <a:pt x="385912" y="270510"/>
                  </a:lnTo>
                  <a:cubicBezTo>
                    <a:pt x="385912" y="240624"/>
                    <a:pt x="410128" y="216408"/>
                    <a:pt x="440014" y="216408"/>
                  </a:cubicBezTo>
                  <a:close/>
                  <a:moveTo>
                    <a:pt x="439862" y="325222"/>
                  </a:moveTo>
                  <a:cubicBezTo>
                    <a:pt x="454431" y="324597"/>
                    <a:pt x="468589" y="330129"/>
                    <a:pt x="478876" y="340462"/>
                  </a:cubicBezTo>
                  <a:cubicBezTo>
                    <a:pt x="488843" y="350673"/>
                    <a:pt x="494330" y="364449"/>
                    <a:pt x="494116" y="378714"/>
                  </a:cubicBezTo>
                  <a:lnTo>
                    <a:pt x="385912" y="378714"/>
                  </a:lnTo>
                  <a:cubicBezTo>
                    <a:pt x="385912" y="348829"/>
                    <a:pt x="410128" y="324612"/>
                    <a:pt x="440014" y="324612"/>
                  </a:cubicBezTo>
                  <a:close/>
                  <a:moveTo>
                    <a:pt x="439862" y="433426"/>
                  </a:moveTo>
                  <a:cubicBezTo>
                    <a:pt x="447238" y="433060"/>
                    <a:pt x="454599" y="434416"/>
                    <a:pt x="461350" y="437388"/>
                  </a:cubicBezTo>
                  <a:cubicBezTo>
                    <a:pt x="467416" y="440558"/>
                    <a:pt x="472993" y="444566"/>
                    <a:pt x="477962" y="449275"/>
                  </a:cubicBezTo>
                  <a:cubicBezTo>
                    <a:pt x="483280" y="453802"/>
                    <a:pt x="487426" y="459547"/>
                    <a:pt x="490001" y="466040"/>
                  </a:cubicBezTo>
                  <a:cubicBezTo>
                    <a:pt x="492607" y="472913"/>
                    <a:pt x="493948" y="480182"/>
                    <a:pt x="493964" y="487528"/>
                  </a:cubicBezTo>
                  <a:lnTo>
                    <a:pt x="385760" y="487528"/>
                  </a:lnTo>
                  <a:cubicBezTo>
                    <a:pt x="385760" y="457642"/>
                    <a:pt x="409976" y="433426"/>
                    <a:pt x="439862" y="433426"/>
                  </a:cubicBezTo>
                  <a:close/>
                  <a:moveTo>
                    <a:pt x="439862" y="541630"/>
                  </a:moveTo>
                  <a:cubicBezTo>
                    <a:pt x="454401" y="541188"/>
                    <a:pt x="468482" y="546705"/>
                    <a:pt x="478876" y="556870"/>
                  </a:cubicBezTo>
                  <a:cubicBezTo>
                    <a:pt x="489011" y="566974"/>
                    <a:pt x="494512" y="580812"/>
                    <a:pt x="494116" y="595122"/>
                  </a:cubicBezTo>
                  <a:lnTo>
                    <a:pt x="385912" y="595122"/>
                  </a:lnTo>
                  <a:cubicBezTo>
                    <a:pt x="385379" y="580705"/>
                    <a:pt x="390911" y="566730"/>
                    <a:pt x="401152" y="556565"/>
                  </a:cubicBezTo>
                  <a:cubicBezTo>
                    <a:pt x="411485" y="546522"/>
                    <a:pt x="425460" y="541127"/>
                    <a:pt x="439862" y="541630"/>
                  </a:cubicBezTo>
                  <a:close/>
                  <a:moveTo>
                    <a:pt x="531302" y="16459"/>
                  </a:moveTo>
                  <a:cubicBezTo>
                    <a:pt x="552516" y="-4587"/>
                    <a:pt x="586775" y="-4450"/>
                    <a:pt x="607806" y="16764"/>
                  </a:cubicBezTo>
                  <a:cubicBezTo>
                    <a:pt x="617819" y="26868"/>
                    <a:pt x="623458" y="40493"/>
                    <a:pt x="623504" y="54712"/>
                  </a:cubicBezTo>
                  <a:lnTo>
                    <a:pt x="514538" y="54712"/>
                  </a:lnTo>
                  <a:cubicBezTo>
                    <a:pt x="514340" y="40295"/>
                    <a:pt x="520131" y="26442"/>
                    <a:pt x="530539" y="16459"/>
                  </a:cubicBezTo>
                  <a:close/>
                  <a:moveTo>
                    <a:pt x="531302" y="124664"/>
                  </a:moveTo>
                  <a:cubicBezTo>
                    <a:pt x="552516" y="103617"/>
                    <a:pt x="586775" y="103754"/>
                    <a:pt x="607806" y="124968"/>
                  </a:cubicBezTo>
                  <a:cubicBezTo>
                    <a:pt x="617819" y="135072"/>
                    <a:pt x="623458" y="148697"/>
                    <a:pt x="623504" y="162916"/>
                  </a:cubicBezTo>
                  <a:lnTo>
                    <a:pt x="514538" y="162916"/>
                  </a:lnTo>
                  <a:cubicBezTo>
                    <a:pt x="514340" y="148499"/>
                    <a:pt x="520131" y="134646"/>
                    <a:pt x="530539" y="124664"/>
                  </a:cubicBezTo>
                  <a:close/>
                  <a:moveTo>
                    <a:pt x="569402" y="217018"/>
                  </a:moveTo>
                  <a:cubicBezTo>
                    <a:pt x="583697" y="216667"/>
                    <a:pt x="597520" y="222169"/>
                    <a:pt x="607654" y="232258"/>
                  </a:cubicBezTo>
                  <a:cubicBezTo>
                    <a:pt x="617789" y="242362"/>
                    <a:pt x="623305" y="256200"/>
                    <a:pt x="622894" y="270510"/>
                  </a:cubicBezTo>
                  <a:lnTo>
                    <a:pt x="514538" y="270510"/>
                  </a:lnTo>
                  <a:cubicBezTo>
                    <a:pt x="514400" y="251094"/>
                    <a:pt x="524779" y="233142"/>
                    <a:pt x="541665" y="223571"/>
                  </a:cubicBezTo>
                  <a:cubicBezTo>
                    <a:pt x="549925" y="219045"/>
                    <a:pt x="559221" y="216789"/>
                    <a:pt x="568639" y="217018"/>
                  </a:cubicBezTo>
                  <a:close/>
                  <a:moveTo>
                    <a:pt x="531302" y="341071"/>
                  </a:moveTo>
                  <a:cubicBezTo>
                    <a:pt x="552927" y="320452"/>
                    <a:pt x="587171" y="321260"/>
                    <a:pt x="607791" y="342870"/>
                  </a:cubicBezTo>
                  <a:cubicBezTo>
                    <a:pt x="617179" y="352715"/>
                    <a:pt x="622513" y="365730"/>
                    <a:pt x="622742" y="379324"/>
                  </a:cubicBezTo>
                  <a:lnTo>
                    <a:pt x="514538" y="379324"/>
                  </a:lnTo>
                  <a:cubicBezTo>
                    <a:pt x="514340" y="364907"/>
                    <a:pt x="520131" y="351054"/>
                    <a:pt x="530539" y="341071"/>
                  </a:cubicBezTo>
                  <a:close/>
                  <a:moveTo>
                    <a:pt x="569402" y="433426"/>
                  </a:moveTo>
                  <a:cubicBezTo>
                    <a:pt x="576519" y="433182"/>
                    <a:pt x="583606" y="434538"/>
                    <a:pt x="590128" y="437388"/>
                  </a:cubicBezTo>
                  <a:cubicBezTo>
                    <a:pt x="596620" y="440299"/>
                    <a:pt x="602549" y="444323"/>
                    <a:pt x="607654" y="449275"/>
                  </a:cubicBezTo>
                  <a:cubicBezTo>
                    <a:pt x="612302" y="454183"/>
                    <a:pt x="616066" y="459852"/>
                    <a:pt x="618779" y="466040"/>
                  </a:cubicBezTo>
                  <a:cubicBezTo>
                    <a:pt x="621919" y="472761"/>
                    <a:pt x="623534" y="480106"/>
                    <a:pt x="623504" y="487528"/>
                  </a:cubicBezTo>
                  <a:lnTo>
                    <a:pt x="514538" y="487528"/>
                  </a:lnTo>
                  <a:cubicBezTo>
                    <a:pt x="514492" y="477774"/>
                    <a:pt x="516945" y="468158"/>
                    <a:pt x="521700" y="459639"/>
                  </a:cubicBezTo>
                  <a:cubicBezTo>
                    <a:pt x="531820" y="443439"/>
                    <a:pt x="549544" y="433548"/>
                    <a:pt x="568639" y="433426"/>
                  </a:cubicBezTo>
                  <a:close/>
                  <a:moveTo>
                    <a:pt x="569402" y="541630"/>
                  </a:moveTo>
                  <a:cubicBezTo>
                    <a:pt x="583666" y="541493"/>
                    <a:pt x="597398" y="546964"/>
                    <a:pt x="607654" y="556870"/>
                  </a:cubicBezTo>
                  <a:cubicBezTo>
                    <a:pt x="617956" y="566867"/>
                    <a:pt x="623504" y="580781"/>
                    <a:pt x="622894" y="595122"/>
                  </a:cubicBezTo>
                  <a:lnTo>
                    <a:pt x="514538" y="595122"/>
                  </a:lnTo>
                  <a:cubicBezTo>
                    <a:pt x="514157" y="580583"/>
                    <a:pt x="519978" y="566563"/>
                    <a:pt x="530539" y="556565"/>
                  </a:cubicBezTo>
                  <a:cubicBezTo>
                    <a:pt x="540705" y="546659"/>
                    <a:pt x="554451" y="541280"/>
                    <a:pt x="568639" y="541630"/>
                  </a:cubicBezTo>
                  <a:close/>
                </a:path>
              </a:pathLst>
            </a:custGeom>
            <a:solidFill>
              <a:srgbClr val="76D2B6"/>
            </a:solidFill>
            <a:ln w="15240" cap="flat">
              <a:noFill/>
              <a:prstDash val="solid"/>
              <a:miter/>
            </a:ln>
          </p:spPr>
          <p:txBody>
            <a:bodyPr rtlCol="0" anchor="ctr"/>
            <a:lstStyle/>
            <a:p>
              <a:endParaRPr lang="nl-NL"/>
            </a:p>
          </p:txBody>
        </p:sp>
        <p:sp>
          <p:nvSpPr>
            <p:cNvPr id="21" name="Vrije vorm: vorm 20">
              <a:extLst>
                <a:ext uri="{FF2B5EF4-FFF2-40B4-BE49-F238E27FC236}">
                  <a16:creationId xmlns:a16="http://schemas.microsoft.com/office/drawing/2014/main" id="{E9CEB8AF-4D90-41DF-A9E5-0315A4415376}"/>
                </a:ext>
              </a:extLst>
            </p:cNvPr>
            <p:cNvSpPr/>
            <p:nvPr/>
          </p:nvSpPr>
          <p:spPr>
            <a:xfrm>
              <a:off x="4094378" y="5595365"/>
              <a:ext cx="622096" cy="595122"/>
            </a:xfrm>
            <a:custGeom>
              <a:avLst/>
              <a:gdLst>
                <a:gd name="connsiteX0" fmla="*/ 0 w 622096"/>
                <a:gd name="connsiteY0" fmla="*/ 54102 h 595122"/>
                <a:gd name="connsiteX1" fmla="*/ 0 w 622096"/>
                <a:gd name="connsiteY1" fmla="*/ 0 h 595122"/>
                <a:gd name="connsiteX2" fmla="*/ 622097 w 622096"/>
                <a:gd name="connsiteY2" fmla="*/ 0 h 595122"/>
                <a:gd name="connsiteX3" fmla="*/ 622097 w 622096"/>
                <a:gd name="connsiteY3" fmla="*/ 54102 h 595122"/>
                <a:gd name="connsiteX4" fmla="*/ 0 w 622096"/>
                <a:gd name="connsiteY4" fmla="*/ 162306 h 595122"/>
                <a:gd name="connsiteX5" fmla="*/ 0 w 622096"/>
                <a:gd name="connsiteY5" fmla="*/ 108204 h 595122"/>
                <a:gd name="connsiteX6" fmla="*/ 622097 w 622096"/>
                <a:gd name="connsiteY6" fmla="*/ 108204 h 595122"/>
                <a:gd name="connsiteX7" fmla="*/ 622097 w 622096"/>
                <a:gd name="connsiteY7" fmla="*/ 162306 h 595122"/>
                <a:gd name="connsiteX8" fmla="*/ 0 w 622096"/>
                <a:gd name="connsiteY8" fmla="*/ 270510 h 595122"/>
                <a:gd name="connsiteX9" fmla="*/ 0 w 622096"/>
                <a:gd name="connsiteY9" fmla="*/ 216408 h 595122"/>
                <a:gd name="connsiteX10" fmla="*/ 622097 w 622096"/>
                <a:gd name="connsiteY10" fmla="*/ 216408 h 595122"/>
                <a:gd name="connsiteX11" fmla="*/ 622097 w 622096"/>
                <a:gd name="connsiteY11" fmla="*/ 270510 h 595122"/>
                <a:gd name="connsiteX12" fmla="*/ 0 w 622096"/>
                <a:gd name="connsiteY12" fmla="*/ 378714 h 595122"/>
                <a:gd name="connsiteX13" fmla="*/ 0 w 622096"/>
                <a:gd name="connsiteY13" fmla="*/ 324612 h 595122"/>
                <a:gd name="connsiteX14" fmla="*/ 622097 w 622096"/>
                <a:gd name="connsiteY14" fmla="*/ 324612 h 595122"/>
                <a:gd name="connsiteX15" fmla="*/ 622097 w 622096"/>
                <a:gd name="connsiteY15" fmla="*/ 378714 h 595122"/>
                <a:gd name="connsiteX16" fmla="*/ 0 w 622096"/>
                <a:gd name="connsiteY16" fmla="*/ 486918 h 595122"/>
                <a:gd name="connsiteX17" fmla="*/ 0 w 622096"/>
                <a:gd name="connsiteY17" fmla="*/ 432816 h 595122"/>
                <a:gd name="connsiteX18" fmla="*/ 622097 w 622096"/>
                <a:gd name="connsiteY18" fmla="*/ 432816 h 595122"/>
                <a:gd name="connsiteX19" fmla="*/ 622097 w 622096"/>
                <a:gd name="connsiteY19" fmla="*/ 486918 h 595122"/>
                <a:gd name="connsiteX20" fmla="*/ 0 w 622096"/>
                <a:gd name="connsiteY20" fmla="*/ 595122 h 595122"/>
                <a:gd name="connsiteX21" fmla="*/ 0 w 622096"/>
                <a:gd name="connsiteY21" fmla="*/ 541020 h 595122"/>
                <a:gd name="connsiteX22" fmla="*/ 622097 w 622096"/>
                <a:gd name="connsiteY22" fmla="*/ 541020 h 595122"/>
                <a:gd name="connsiteX23" fmla="*/ 622097 w 622096"/>
                <a:gd name="connsiteY23" fmla="*/ 595122 h 59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096" h="595122">
                  <a:moveTo>
                    <a:pt x="0" y="54102"/>
                  </a:moveTo>
                  <a:lnTo>
                    <a:pt x="0" y="0"/>
                  </a:lnTo>
                  <a:lnTo>
                    <a:pt x="622097" y="0"/>
                  </a:lnTo>
                  <a:lnTo>
                    <a:pt x="622097" y="54102"/>
                  </a:lnTo>
                  <a:close/>
                  <a:moveTo>
                    <a:pt x="0" y="162306"/>
                  </a:moveTo>
                  <a:lnTo>
                    <a:pt x="0" y="108204"/>
                  </a:lnTo>
                  <a:lnTo>
                    <a:pt x="622097" y="108204"/>
                  </a:lnTo>
                  <a:lnTo>
                    <a:pt x="622097" y="162306"/>
                  </a:lnTo>
                  <a:close/>
                  <a:moveTo>
                    <a:pt x="0" y="270510"/>
                  </a:moveTo>
                  <a:lnTo>
                    <a:pt x="0" y="216408"/>
                  </a:lnTo>
                  <a:lnTo>
                    <a:pt x="622097" y="216408"/>
                  </a:lnTo>
                  <a:lnTo>
                    <a:pt x="622097" y="270510"/>
                  </a:lnTo>
                  <a:close/>
                  <a:moveTo>
                    <a:pt x="0" y="378714"/>
                  </a:moveTo>
                  <a:lnTo>
                    <a:pt x="0" y="324612"/>
                  </a:lnTo>
                  <a:lnTo>
                    <a:pt x="622097" y="324612"/>
                  </a:lnTo>
                  <a:lnTo>
                    <a:pt x="622097" y="378714"/>
                  </a:lnTo>
                  <a:close/>
                  <a:moveTo>
                    <a:pt x="0" y="486918"/>
                  </a:moveTo>
                  <a:lnTo>
                    <a:pt x="0" y="432816"/>
                  </a:lnTo>
                  <a:lnTo>
                    <a:pt x="622097" y="432816"/>
                  </a:lnTo>
                  <a:lnTo>
                    <a:pt x="622097" y="486918"/>
                  </a:lnTo>
                  <a:close/>
                  <a:moveTo>
                    <a:pt x="0" y="595122"/>
                  </a:moveTo>
                  <a:lnTo>
                    <a:pt x="0" y="541020"/>
                  </a:lnTo>
                  <a:lnTo>
                    <a:pt x="622097" y="541020"/>
                  </a:lnTo>
                  <a:lnTo>
                    <a:pt x="622097" y="595122"/>
                  </a:lnTo>
                  <a:close/>
                </a:path>
              </a:pathLst>
            </a:custGeom>
            <a:solidFill>
              <a:srgbClr val="8FCAE7"/>
            </a:solidFill>
            <a:ln w="15240" cap="flat">
              <a:noFill/>
              <a:prstDash val="solid"/>
              <a:miter/>
            </a:ln>
          </p:spPr>
          <p:txBody>
            <a:bodyPr rtlCol="0" anchor="ctr"/>
            <a:lstStyle/>
            <a:p>
              <a:endParaRPr lang="nl-NL"/>
            </a:p>
          </p:txBody>
        </p:sp>
        <p:sp>
          <p:nvSpPr>
            <p:cNvPr id="22" name="Vrije vorm: vorm 21">
              <a:extLst>
                <a:ext uri="{FF2B5EF4-FFF2-40B4-BE49-F238E27FC236}">
                  <a16:creationId xmlns:a16="http://schemas.microsoft.com/office/drawing/2014/main" id="{AC4719B6-8516-49D2-8C17-D50341BCF746}"/>
                </a:ext>
              </a:extLst>
            </p:cNvPr>
            <p:cNvSpPr/>
            <p:nvPr/>
          </p:nvSpPr>
          <p:spPr>
            <a:xfrm>
              <a:off x="9504426" y="4297679"/>
              <a:ext cx="622095" cy="594512"/>
            </a:xfrm>
            <a:custGeom>
              <a:avLst/>
              <a:gdLst>
                <a:gd name="connsiteX0" fmla="*/ 0 w 622095"/>
                <a:gd name="connsiteY0" fmla="*/ 53493 h 594512"/>
                <a:gd name="connsiteX1" fmla="*/ 0 w 622095"/>
                <a:gd name="connsiteY1" fmla="*/ 0 h 594512"/>
                <a:gd name="connsiteX2" fmla="*/ 622096 w 622095"/>
                <a:gd name="connsiteY2" fmla="*/ 0 h 594512"/>
                <a:gd name="connsiteX3" fmla="*/ 622096 w 622095"/>
                <a:gd name="connsiteY3" fmla="*/ 54102 h 594512"/>
                <a:gd name="connsiteX4" fmla="*/ 0 w 622095"/>
                <a:gd name="connsiteY4" fmla="*/ 161696 h 594512"/>
                <a:gd name="connsiteX5" fmla="*/ 0 w 622095"/>
                <a:gd name="connsiteY5" fmla="*/ 107594 h 594512"/>
                <a:gd name="connsiteX6" fmla="*/ 622096 w 622095"/>
                <a:gd name="connsiteY6" fmla="*/ 107594 h 594512"/>
                <a:gd name="connsiteX7" fmla="*/ 622096 w 622095"/>
                <a:gd name="connsiteY7" fmla="*/ 161696 h 594512"/>
                <a:gd name="connsiteX8" fmla="*/ 0 w 622095"/>
                <a:gd name="connsiteY8" fmla="*/ 269900 h 594512"/>
                <a:gd name="connsiteX9" fmla="*/ 0 w 622095"/>
                <a:gd name="connsiteY9" fmla="*/ 215798 h 594512"/>
                <a:gd name="connsiteX10" fmla="*/ 622096 w 622095"/>
                <a:gd name="connsiteY10" fmla="*/ 215798 h 594512"/>
                <a:gd name="connsiteX11" fmla="*/ 622096 w 622095"/>
                <a:gd name="connsiteY11" fmla="*/ 269900 h 594512"/>
                <a:gd name="connsiteX12" fmla="*/ 0 w 622095"/>
                <a:gd name="connsiteY12" fmla="*/ 378104 h 594512"/>
                <a:gd name="connsiteX13" fmla="*/ 0 w 622095"/>
                <a:gd name="connsiteY13" fmla="*/ 324003 h 594512"/>
                <a:gd name="connsiteX14" fmla="*/ 622096 w 622095"/>
                <a:gd name="connsiteY14" fmla="*/ 324003 h 594512"/>
                <a:gd name="connsiteX15" fmla="*/ 622096 w 622095"/>
                <a:gd name="connsiteY15" fmla="*/ 378104 h 594512"/>
                <a:gd name="connsiteX16" fmla="*/ 0 w 622095"/>
                <a:gd name="connsiteY16" fmla="*/ 486309 h 594512"/>
                <a:gd name="connsiteX17" fmla="*/ 0 w 622095"/>
                <a:gd name="connsiteY17" fmla="*/ 432206 h 594512"/>
                <a:gd name="connsiteX18" fmla="*/ 622096 w 622095"/>
                <a:gd name="connsiteY18" fmla="*/ 432206 h 594512"/>
                <a:gd name="connsiteX19" fmla="*/ 622096 w 622095"/>
                <a:gd name="connsiteY19" fmla="*/ 486309 h 594512"/>
                <a:gd name="connsiteX20" fmla="*/ 0 w 622095"/>
                <a:gd name="connsiteY20" fmla="*/ 594513 h 594512"/>
                <a:gd name="connsiteX21" fmla="*/ 0 w 622095"/>
                <a:gd name="connsiteY21" fmla="*/ 540410 h 594512"/>
                <a:gd name="connsiteX22" fmla="*/ 622096 w 622095"/>
                <a:gd name="connsiteY22" fmla="*/ 540410 h 594512"/>
                <a:gd name="connsiteX23" fmla="*/ 622096 w 622095"/>
                <a:gd name="connsiteY23" fmla="*/ 594360 h 59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095" h="594512">
                  <a:moveTo>
                    <a:pt x="0" y="53493"/>
                  </a:moveTo>
                  <a:lnTo>
                    <a:pt x="0" y="0"/>
                  </a:lnTo>
                  <a:lnTo>
                    <a:pt x="622096" y="0"/>
                  </a:lnTo>
                  <a:lnTo>
                    <a:pt x="622096" y="54102"/>
                  </a:lnTo>
                  <a:close/>
                  <a:moveTo>
                    <a:pt x="0" y="161696"/>
                  </a:moveTo>
                  <a:lnTo>
                    <a:pt x="0" y="107594"/>
                  </a:lnTo>
                  <a:lnTo>
                    <a:pt x="622096" y="107594"/>
                  </a:lnTo>
                  <a:lnTo>
                    <a:pt x="622096" y="161696"/>
                  </a:lnTo>
                  <a:close/>
                  <a:moveTo>
                    <a:pt x="0" y="269900"/>
                  </a:moveTo>
                  <a:lnTo>
                    <a:pt x="0" y="215798"/>
                  </a:lnTo>
                  <a:lnTo>
                    <a:pt x="622096" y="215798"/>
                  </a:lnTo>
                  <a:lnTo>
                    <a:pt x="622096" y="269900"/>
                  </a:lnTo>
                  <a:close/>
                  <a:moveTo>
                    <a:pt x="0" y="378104"/>
                  </a:moveTo>
                  <a:lnTo>
                    <a:pt x="0" y="324003"/>
                  </a:lnTo>
                  <a:lnTo>
                    <a:pt x="622096" y="324003"/>
                  </a:lnTo>
                  <a:lnTo>
                    <a:pt x="622096" y="378104"/>
                  </a:lnTo>
                  <a:close/>
                  <a:moveTo>
                    <a:pt x="0" y="486309"/>
                  </a:moveTo>
                  <a:lnTo>
                    <a:pt x="0" y="432206"/>
                  </a:lnTo>
                  <a:lnTo>
                    <a:pt x="622096" y="432206"/>
                  </a:lnTo>
                  <a:lnTo>
                    <a:pt x="622096" y="486309"/>
                  </a:lnTo>
                  <a:close/>
                  <a:moveTo>
                    <a:pt x="0" y="594513"/>
                  </a:moveTo>
                  <a:lnTo>
                    <a:pt x="0" y="540410"/>
                  </a:lnTo>
                  <a:lnTo>
                    <a:pt x="622096" y="540410"/>
                  </a:lnTo>
                  <a:lnTo>
                    <a:pt x="622096" y="594360"/>
                  </a:lnTo>
                  <a:close/>
                </a:path>
              </a:pathLst>
            </a:custGeom>
            <a:solidFill>
              <a:srgbClr val="39870C"/>
            </a:solidFill>
            <a:ln w="15240" cap="flat">
              <a:noFill/>
              <a:prstDash val="solid"/>
              <a:miter/>
            </a:ln>
          </p:spPr>
          <p:txBody>
            <a:bodyPr rtlCol="0" anchor="ctr"/>
            <a:lstStyle/>
            <a:p>
              <a:endParaRPr lang="nl-NL"/>
            </a:p>
          </p:txBody>
        </p:sp>
        <p:sp>
          <p:nvSpPr>
            <p:cNvPr id="23" name="Vrije vorm: vorm 22">
              <a:extLst>
                <a:ext uri="{FF2B5EF4-FFF2-40B4-BE49-F238E27FC236}">
                  <a16:creationId xmlns:a16="http://schemas.microsoft.com/office/drawing/2014/main" id="{DCBCB0C4-017C-4A58-8B23-038DA78B95B3}"/>
                </a:ext>
              </a:extLst>
            </p:cNvPr>
            <p:cNvSpPr/>
            <p:nvPr/>
          </p:nvSpPr>
          <p:spPr>
            <a:xfrm>
              <a:off x="10180320" y="4297679"/>
              <a:ext cx="622096" cy="594360"/>
            </a:xfrm>
            <a:custGeom>
              <a:avLst/>
              <a:gdLst>
                <a:gd name="connsiteX0" fmla="*/ 0 w 622096"/>
                <a:gd name="connsiteY0" fmla="*/ 594360 h 594360"/>
                <a:gd name="connsiteX1" fmla="*/ 0 w 622096"/>
                <a:gd name="connsiteY1" fmla="*/ 0 h 594360"/>
                <a:gd name="connsiteX2" fmla="*/ 54102 w 622096"/>
                <a:gd name="connsiteY2" fmla="*/ 0 h 594360"/>
                <a:gd name="connsiteX3" fmla="*/ 54102 w 622096"/>
                <a:gd name="connsiteY3" fmla="*/ 594360 h 594360"/>
                <a:gd name="connsiteX4" fmla="*/ 113691 w 622096"/>
                <a:gd name="connsiteY4" fmla="*/ 594360 h 594360"/>
                <a:gd name="connsiteX5" fmla="*/ 113691 w 622096"/>
                <a:gd name="connsiteY5" fmla="*/ 0 h 594360"/>
                <a:gd name="connsiteX6" fmla="*/ 167640 w 622096"/>
                <a:gd name="connsiteY6" fmla="*/ 0 h 594360"/>
                <a:gd name="connsiteX7" fmla="*/ 167640 w 622096"/>
                <a:gd name="connsiteY7" fmla="*/ 594360 h 594360"/>
                <a:gd name="connsiteX8" fmla="*/ 227533 w 622096"/>
                <a:gd name="connsiteY8" fmla="*/ 594360 h 594360"/>
                <a:gd name="connsiteX9" fmla="*/ 227533 w 622096"/>
                <a:gd name="connsiteY9" fmla="*/ 0 h 594360"/>
                <a:gd name="connsiteX10" fmla="*/ 281635 w 622096"/>
                <a:gd name="connsiteY10" fmla="*/ 0 h 594360"/>
                <a:gd name="connsiteX11" fmla="*/ 281635 w 622096"/>
                <a:gd name="connsiteY11" fmla="*/ 594360 h 594360"/>
                <a:gd name="connsiteX12" fmla="*/ 340462 w 622096"/>
                <a:gd name="connsiteY12" fmla="*/ 594360 h 594360"/>
                <a:gd name="connsiteX13" fmla="*/ 340462 w 622096"/>
                <a:gd name="connsiteY13" fmla="*/ 0 h 594360"/>
                <a:gd name="connsiteX14" fmla="*/ 394564 w 622096"/>
                <a:gd name="connsiteY14" fmla="*/ 0 h 594360"/>
                <a:gd name="connsiteX15" fmla="*/ 394564 w 622096"/>
                <a:gd name="connsiteY15" fmla="*/ 594360 h 594360"/>
                <a:gd name="connsiteX16" fmla="*/ 454152 w 622096"/>
                <a:gd name="connsiteY16" fmla="*/ 594360 h 594360"/>
                <a:gd name="connsiteX17" fmla="*/ 454152 w 622096"/>
                <a:gd name="connsiteY17" fmla="*/ 0 h 594360"/>
                <a:gd name="connsiteX18" fmla="*/ 508254 w 622096"/>
                <a:gd name="connsiteY18" fmla="*/ 0 h 594360"/>
                <a:gd name="connsiteX19" fmla="*/ 508254 w 622096"/>
                <a:gd name="connsiteY19" fmla="*/ 594360 h 594360"/>
                <a:gd name="connsiteX20" fmla="*/ 567995 w 622096"/>
                <a:gd name="connsiteY20" fmla="*/ 594360 h 594360"/>
                <a:gd name="connsiteX21" fmla="*/ 567995 w 622096"/>
                <a:gd name="connsiteY21" fmla="*/ 0 h 594360"/>
                <a:gd name="connsiteX22" fmla="*/ 622097 w 622096"/>
                <a:gd name="connsiteY22" fmla="*/ 0 h 594360"/>
                <a:gd name="connsiteX23" fmla="*/ 622097 w 622096"/>
                <a:gd name="connsiteY23" fmla="*/ 594360 h 59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096" h="594360">
                  <a:moveTo>
                    <a:pt x="0" y="594360"/>
                  </a:moveTo>
                  <a:lnTo>
                    <a:pt x="0" y="0"/>
                  </a:lnTo>
                  <a:lnTo>
                    <a:pt x="54102" y="0"/>
                  </a:lnTo>
                  <a:lnTo>
                    <a:pt x="54102" y="594360"/>
                  </a:lnTo>
                  <a:close/>
                  <a:moveTo>
                    <a:pt x="113691" y="594360"/>
                  </a:moveTo>
                  <a:lnTo>
                    <a:pt x="113691" y="0"/>
                  </a:lnTo>
                  <a:lnTo>
                    <a:pt x="167640" y="0"/>
                  </a:lnTo>
                  <a:lnTo>
                    <a:pt x="167640" y="594360"/>
                  </a:lnTo>
                  <a:close/>
                  <a:moveTo>
                    <a:pt x="227533" y="594360"/>
                  </a:moveTo>
                  <a:lnTo>
                    <a:pt x="227533" y="0"/>
                  </a:lnTo>
                  <a:lnTo>
                    <a:pt x="281635" y="0"/>
                  </a:lnTo>
                  <a:lnTo>
                    <a:pt x="281635" y="594360"/>
                  </a:lnTo>
                  <a:close/>
                  <a:moveTo>
                    <a:pt x="340462" y="594360"/>
                  </a:moveTo>
                  <a:lnTo>
                    <a:pt x="340462" y="0"/>
                  </a:lnTo>
                  <a:lnTo>
                    <a:pt x="394564" y="0"/>
                  </a:lnTo>
                  <a:lnTo>
                    <a:pt x="394564" y="594360"/>
                  </a:lnTo>
                  <a:close/>
                  <a:moveTo>
                    <a:pt x="454152" y="594360"/>
                  </a:moveTo>
                  <a:lnTo>
                    <a:pt x="454152" y="0"/>
                  </a:lnTo>
                  <a:lnTo>
                    <a:pt x="508254" y="0"/>
                  </a:lnTo>
                  <a:lnTo>
                    <a:pt x="508254" y="594360"/>
                  </a:lnTo>
                  <a:close/>
                  <a:moveTo>
                    <a:pt x="567995" y="594360"/>
                  </a:moveTo>
                  <a:lnTo>
                    <a:pt x="567995" y="0"/>
                  </a:lnTo>
                  <a:lnTo>
                    <a:pt x="622097" y="0"/>
                  </a:lnTo>
                  <a:lnTo>
                    <a:pt x="622097" y="594360"/>
                  </a:lnTo>
                  <a:close/>
                </a:path>
              </a:pathLst>
            </a:custGeom>
            <a:solidFill>
              <a:schemeClr val="accent5"/>
            </a:solidFill>
            <a:ln w="15240" cap="flat">
              <a:noFill/>
              <a:prstDash val="solid"/>
              <a:miter/>
            </a:ln>
          </p:spPr>
          <p:txBody>
            <a:bodyPr rtlCol="0" anchor="ctr"/>
            <a:lstStyle/>
            <a:p>
              <a:endParaRPr lang="nl-NL"/>
            </a:p>
          </p:txBody>
        </p:sp>
        <p:sp>
          <p:nvSpPr>
            <p:cNvPr id="24" name="Vrije vorm: vorm 23">
              <a:extLst>
                <a:ext uri="{FF2B5EF4-FFF2-40B4-BE49-F238E27FC236}">
                  <a16:creationId xmlns:a16="http://schemas.microsoft.com/office/drawing/2014/main" id="{84345897-78EA-400F-8782-A0BFA2326A22}"/>
                </a:ext>
              </a:extLst>
            </p:cNvPr>
            <p:cNvSpPr/>
            <p:nvPr/>
          </p:nvSpPr>
          <p:spPr>
            <a:xfrm>
              <a:off x="9504407" y="4944769"/>
              <a:ext cx="621372" cy="597103"/>
            </a:xfrm>
            <a:custGeom>
              <a:avLst/>
              <a:gdLst>
                <a:gd name="connsiteX0" fmla="*/ 69209 w 621372"/>
                <a:gd name="connsiteY0" fmla="*/ 552450 h 597103"/>
                <a:gd name="connsiteX1" fmla="*/ 92374 w 621372"/>
                <a:gd name="connsiteY1" fmla="*/ 595427 h 597103"/>
                <a:gd name="connsiteX2" fmla="*/ 33395 w 621372"/>
                <a:gd name="connsiteY2" fmla="*/ 595427 h 597103"/>
                <a:gd name="connsiteX3" fmla="*/ 26232 w 621372"/>
                <a:gd name="connsiteY3" fmla="*/ 585216 h 597103"/>
                <a:gd name="connsiteX4" fmla="*/ 19 w 621372"/>
                <a:gd name="connsiteY4" fmla="*/ 514350 h 597103"/>
                <a:gd name="connsiteX5" fmla="*/ 26232 w 621372"/>
                <a:gd name="connsiteY5" fmla="*/ 444399 h 597103"/>
                <a:gd name="connsiteX6" fmla="*/ 34613 w 621372"/>
                <a:gd name="connsiteY6" fmla="*/ 432359 h 597103"/>
                <a:gd name="connsiteX7" fmla="*/ 39338 w 621372"/>
                <a:gd name="connsiteY7" fmla="*/ 421691 h 597103"/>
                <a:gd name="connsiteX8" fmla="*/ 39338 w 621372"/>
                <a:gd name="connsiteY8" fmla="*/ 391211 h 597103"/>
                <a:gd name="connsiteX9" fmla="*/ 34613 w 621372"/>
                <a:gd name="connsiteY9" fmla="*/ 380543 h 597103"/>
                <a:gd name="connsiteX10" fmla="*/ 26232 w 621372"/>
                <a:gd name="connsiteY10" fmla="*/ 368656 h 597103"/>
                <a:gd name="connsiteX11" fmla="*/ 19 w 621372"/>
                <a:gd name="connsiteY11" fmla="*/ 297790 h 597103"/>
                <a:gd name="connsiteX12" fmla="*/ 26232 w 621372"/>
                <a:gd name="connsiteY12" fmla="*/ 227838 h 597103"/>
                <a:gd name="connsiteX13" fmla="*/ 34613 w 621372"/>
                <a:gd name="connsiteY13" fmla="*/ 215951 h 597103"/>
                <a:gd name="connsiteX14" fmla="*/ 39338 w 621372"/>
                <a:gd name="connsiteY14" fmla="*/ 205131 h 597103"/>
                <a:gd name="connsiteX15" fmla="*/ 41472 w 621372"/>
                <a:gd name="connsiteY15" fmla="*/ 189891 h 597103"/>
                <a:gd name="connsiteX16" fmla="*/ 39338 w 621372"/>
                <a:gd name="connsiteY16" fmla="*/ 174651 h 597103"/>
                <a:gd name="connsiteX17" fmla="*/ 34613 w 621372"/>
                <a:gd name="connsiteY17" fmla="*/ 163830 h 597103"/>
                <a:gd name="connsiteX18" fmla="*/ 26232 w 621372"/>
                <a:gd name="connsiteY18" fmla="*/ 151943 h 597103"/>
                <a:gd name="connsiteX19" fmla="*/ 26232 w 621372"/>
                <a:gd name="connsiteY19" fmla="*/ 11125 h 597103"/>
                <a:gd name="connsiteX20" fmla="*/ 34309 w 621372"/>
                <a:gd name="connsiteY20" fmla="*/ 0 h 597103"/>
                <a:gd name="connsiteX21" fmla="*/ 92374 w 621372"/>
                <a:gd name="connsiteY21" fmla="*/ 0 h 597103"/>
                <a:gd name="connsiteX22" fmla="*/ 69209 w 621372"/>
                <a:gd name="connsiteY22" fmla="*/ 43739 h 597103"/>
                <a:gd name="connsiteX23" fmla="*/ 60827 w 621372"/>
                <a:gd name="connsiteY23" fmla="*/ 55626 h 597103"/>
                <a:gd name="connsiteX24" fmla="*/ 56102 w 621372"/>
                <a:gd name="connsiteY24" fmla="*/ 66447 h 597103"/>
                <a:gd name="connsiteX25" fmla="*/ 57321 w 621372"/>
                <a:gd name="connsiteY25" fmla="*/ 101041 h 597103"/>
                <a:gd name="connsiteX26" fmla="*/ 69209 w 621372"/>
                <a:gd name="connsiteY26" fmla="*/ 119329 h 597103"/>
                <a:gd name="connsiteX27" fmla="*/ 69209 w 621372"/>
                <a:gd name="connsiteY27" fmla="*/ 260147 h 597103"/>
                <a:gd name="connsiteX28" fmla="*/ 60827 w 621372"/>
                <a:gd name="connsiteY28" fmla="*/ 272034 h 597103"/>
                <a:gd name="connsiteX29" fmla="*/ 56102 w 621372"/>
                <a:gd name="connsiteY29" fmla="*/ 282854 h 597103"/>
                <a:gd name="connsiteX30" fmla="*/ 54121 w 621372"/>
                <a:gd name="connsiteY30" fmla="*/ 298094 h 597103"/>
                <a:gd name="connsiteX31" fmla="*/ 57321 w 621372"/>
                <a:gd name="connsiteY31" fmla="*/ 318059 h 597103"/>
                <a:gd name="connsiteX32" fmla="*/ 69209 w 621372"/>
                <a:gd name="connsiteY32" fmla="*/ 336347 h 597103"/>
                <a:gd name="connsiteX33" fmla="*/ 95573 w 621372"/>
                <a:gd name="connsiteY33" fmla="*/ 406299 h 597103"/>
                <a:gd name="connsiteX34" fmla="*/ 69209 w 621372"/>
                <a:gd name="connsiteY34" fmla="*/ 477164 h 597103"/>
                <a:gd name="connsiteX35" fmla="*/ 60827 w 621372"/>
                <a:gd name="connsiteY35" fmla="*/ 488594 h 597103"/>
                <a:gd name="connsiteX36" fmla="*/ 56102 w 621372"/>
                <a:gd name="connsiteY36" fmla="*/ 499415 h 597103"/>
                <a:gd name="connsiteX37" fmla="*/ 54121 w 621372"/>
                <a:gd name="connsiteY37" fmla="*/ 514655 h 597103"/>
                <a:gd name="connsiteX38" fmla="*/ 57321 w 621372"/>
                <a:gd name="connsiteY38" fmla="*/ 534467 h 597103"/>
                <a:gd name="connsiteX39" fmla="*/ 69209 w 621372"/>
                <a:gd name="connsiteY39" fmla="*/ 552450 h 597103"/>
                <a:gd name="connsiteX40" fmla="*/ 200577 w 621372"/>
                <a:gd name="connsiteY40" fmla="*/ 552450 h 597103"/>
                <a:gd name="connsiteX41" fmla="*/ 223590 w 621372"/>
                <a:gd name="connsiteY41" fmla="*/ 595427 h 597103"/>
                <a:gd name="connsiteX42" fmla="*/ 165525 w 621372"/>
                <a:gd name="connsiteY42" fmla="*/ 595427 h 597103"/>
                <a:gd name="connsiteX43" fmla="*/ 157600 w 621372"/>
                <a:gd name="connsiteY43" fmla="*/ 585216 h 597103"/>
                <a:gd name="connsiteX44" fmla="*/ 131235 w 621372"/>
                <a:gd name="connsiteY44" fmla="*/ 514350 h 597103"/>
                <a:gd name="connsiteX45" fmla="*/ 157600 w 621372"/>
                <a:gd name="connsiteY45" fmla="*/ 444399 h 597103"/>
                <a:gd name="connsiteX46" fmla="*/ 164306 w 621372"/>
                <a:gd name="connsiteY46" fmla="*/ 435102 h 597103"/>
                <a:gd name="connsiteX47" fmla="*/ 168725 w 621372"/>
                <a:gd name="connsiteY47" fmla="*/ 427634 h 597103"/>
                <a:gd name="connsiteX48" fmla="*/ 171926 w 621372"/>
                <a:gd name="connsiteY48" fmla="*/ 418034 h 597103"/>
                <a:gd name="connsiteX49" fmla="*/ 172688 w 621372"/>
                <a:gd name="connsiteY49" fmla="*/ 406146 h 597103"/>
                <a:gd name="connsiteX50" fmla="*/ 169488 w 621372"/>
                <a:gd name="connsiteY50" fmla="*/ 387096 h 597103"/>
                <a:gd name="connsiteX51" fmla="*/ 157600 w 621372"/>
                <a:gd name="connsiteY51" fmla="*/ 368808 h 597103"/>
                <a:gd name="connsiteX52" fmla="*/ 131235 w 621372"/>
                <a:gd name="connsiteY52" fmla="*/ 297942 h 597103"/>
                <a:gd name="connsiteX53" fmla="*/ 157600 w 621372"/>
                <a:gd name="connsiteY53" fmla="*/ 227991 h 597103"/>
                <a:gd name="connsiteX54" fmla="*/ 164306 w 621372"/>
                <a:gd name="connsiteY54" fmla="*/ 218847 h 597103"/>
                <a:gd name="connsiteX55" fmla="*/ 168725 w 621372"/>
                <a:gd name="connsiteY55" fmla="*/ 211227 h 597103"/>
                <a:gd name="connsiteX56" fmla="*/ 171926 w 621372"/>
                <a:gd name="connsiteY56" fmla="*/ 201778 h 597103"/>
                <a:gd name="connsiteX57" fmla="*/ 172688 w 621372"/>
                <a:gd name="connsiteY57" fmla="*/ 189738 h 597103"/>
                <a:gd name="connsiteX58" fmla="*/ 169488 w 621372"/>
                <a:gd name="connsiteY58" fmla="*/ 170688 h 597103"/>
                <a:gd name="connsiteX59" fmla="*/ 157600 w 621372"/>
                <a:gd name="connsiteY59" fmla="*/ 152400 h 597103"/>
                <a:gd name="connsiteX60" fmla="*/ 157600 w 621372"/>
                <a:gd name="connsiteY60" fmla="*/ 11583 h 597103"/>
                <a:gd name="connsiteX61" fmla="*/ 165525 w 621372"/>
                <a:gd name="connsiteY61" fmla="*/ 457 h 597103"/>
                <a:gd name="connsiteX62" fmla="*/ 224352 w 621372"/>
                <a:gd name="connsiteY62" fmla="*/ 457 h 597103"/>
                <a:gd name="connsiteX63" fmla="*/ 200577 w 621372"/>
                <a:gd name="connsiteY63" fmla="*/ 44196 h 597103"/>
                <a:gd name="connsiteX64" fmla="*/ 192501 w 621372"/>
                <a:gd name="connsiteY64" fmla="*/ 56084 h 597103"/>
                <a:gd name="connsiteX65" fmla="*/ 188233 w 621372"/>
                <a:gd name="connsiteY65" fmla="*/ 66904 h 597103"/>
                <a:gd name="connsiteX66" fmla="*/ 189300 w 621372"/>
                <a:gd name="connsiteY66" fmla="*/ 101498 h 597103"/>
                <a:gd name="connsiteX67" fmla="*/ 200577 w 621372"/>
                <a:gd name="connsiteY67" fmla="*/ 119787 h 597103"/>
                <a:gd name="connsiteX68" fmla="*/ 200577 w 621372"/>
                <a:gd name="connsiteY68" fmla="*/ 260604 h 597103"/>
                <a:gd name="connsiteX69" fmla="*/ 192501 w 621372"/>
                <a:gd name="connsiteY69" fmla="*/ 272491 h 597103"/>
                <a:gd name="connsiteX70" fmla="*/ 188233 w 621372"/>
                <a:gd name="connsiteY70" fmla="*/ 283312 h 597103"/>
                <a:gd name="connsiteX71" fmla="*/ 186252 w 621372"/>
                <a:gd name="connsiteY71" fmla="*/ 298552 h 597103"/>
                <a:gd name="connsiteX72" fmla="*/ 188233 w 621372"/>
                <a:gd name="connsiteY72" fmla="*/ 313792 h 597103"/>
                <a:gd name="connsiteX73" fmla="*/ 192501 w 621372"/>
                <a:gd name="connsiteY73" fmla="*/ 324460 h 597103"/>
                <a:gd name="connsiteX74" fmla="*/ 200577 w 621372"/>
                <a:gd name="connsiteY74" fmla="*/ 336500 h 597103"/>
                <a:gd name="connsiteX75" fmla="*/ 227552 w 621372"/>
                <a:gd name="connsiteY75" fmla="*/ 406451 h 597103"/>
                <a:gd name="connsiteX76" fmla="*/ 200577 w 621372"/>
                <a:gd name="connsiteY76" fmla="*/ 477317 h 597103"/>
                <a:gd name="connsiteX77" fmla="*/ 192501 w 621372"/>
                <a:gd name="connsiteY77" fmla="*/ 488747 h 597103"/>
                <a:gd name="connsiteX78" fmla="*/ 188233 w 621372"/>
                <a:gd name="connsiteY78" fmla="*/ 499567 h 597103"/>
                <a:gd name="connsiteX79" fmla="*/ 186252 w 621372"/>
                <a:gd name="connsiteY79" fmla="*/ 514807 h 597103"/>
                <a:gd name="connsiteX80" fmla="*/ 189300 w 621372"/>
                <a:gd name="connsiteY80" fmla="*/ 534620 h 597103"/>
                <a:gd name="connsiteX81" fmla="*/ 200577 w 621372"/>
                <a:gd name="connsiteY81" fmla="*/ 552450 h 597103"/>
                <a:gd name="connsiteX82" fmla="*/ 332555 w 621372"/>
                <a:gd name="connsiteY82" fmla="*/ 552450 h 597103"/>
                <a:gd name="connsiteX83" fmla="*/ 355568 w 621372"/>
                <a:gd name="connsiteY83" fmla="*/ 595427 h 597103"/>
                <a:gd name="connsiteX84" fmla="*/ 296742 w 621372"/>
                <a:gd name="connsiteY84" fmla="*/ 595427 h 597103"/>
                <a:gd name="connsiteX85" fmla="*/ 289579 w 621372"/>
                <a:gd name="connsiteY85" fmla="*/ 585216 h 597103"/>
                <a:gd name="connsiteX86" fmla="*/ 263366 w 621372"/>
                <a:gd name="connsiteY86" fmla="*/ 514350 h 597103"/>
                <a:gd name="connsiteX87" fmla="*/ 289579 w 621372"/>
                <a:gd name="connsiteY87" fmla="*/ 444399 h 597103"/>
                <a:gd name="connsiteX88" fmla="*/ 297961 w 621372"/>
                <a:gd name="connsiteY88" fmla="*/ 432359 h 597103"/>
                <a:gd name="connsiteX89" fmla="*/ 302685 w 621372"/>
                <a:gd name="connsiteY89" fmla="*/ 421691 h 597103"/>
                <a:gd name="connsiteX90" fmla="*/ 304667 w 621372"/>
                <a:gd name="connsiteY90" fmla="*/ 406451 h 597103"/>
                <a:gd name="connsiteX91" fmla="*/ 301466 w 621372"/>
                <a:gd name="connsiteY91" fmla="*/ 387401 h 597103"/>
                <a:gd name="connsiteX92" fmla="*/ 289579 w 621372"/>
                <a:gd name="connsiteY92" fmla="*/ 369113 h 597103"/>
                <a:gd name="connsiteX93" fmla="*/ 263366 w 621372"/>
                <a:gd name="connsiteY93" fmla="*/ 298247 h 597103"/>
                <a:gd name="connsiteX94" fmla="*/ 289579 w 621372"/>
                <a:gd name="connsiteY94" fmla="*/ 228295 h 597103"/>
                <a:gd name="connsiteX95" fmla="*/ 297961 w 621372"/>
                <a:gd name="connsiteY95" fmla="*/ 216408 h 597103"/>
                <a:gd name="connsiteX96" fmla="*/ 302685 w 621372"/>
                <a:gd name="connsiteY96" fmla="*/ 205588 h 597103"/>
                <a:gd name="connsiteX97" fmla="*/ 304667 w 621372"/>
                <a:gd name="connsiteY97" fmla="*/ 190348 h 597103"/>
                <a:gd name="connsiteX98" fmla="*/ 301466 w 621372"/>
                <a:gd name="connsiteY98" fmla="*/ 171298 h 597103"/>
                <a:gd name="connsiteX99" fmla="*/ 289579 w 621372"/>
                <a:gd name="connsiteY99" fmla="*/ 153010 h 597103"/>
                <a:gd name="connsiteX100" fmla="*/ 289579 w 621372"/>
                <a:gd name="connsiteY100" fmla="*/ 12192 h 597103"/>
                <a:gd name="connsiteX101" fmla="*/ 297503 w 621372"/>
                <a:gd name="connsiteY101" fmla="*/ 1067 h 597103"/>
                <a:gd name="connsiteX102" fmla="*/ 355873 w 621372"/>
                <a:gd name="connsiteY102" fmla="*/ 1067 h 597103"/>
                <a:gd name="connsiteX103" fmla="*/ 332860 w 621372"/>
                <a:gd name="connsiteY103" fmla="*/ 44806 h 597103"/>
                <a:gd name="connsiteX104" fmla="*/ 324479 w 621372"/>
                <a:gd name="connsiteY104" fmla="*/ 56693 h 597103"/>
                <a:gd name="connsiteX105" fmla="*/ 319754 w 621372"/>
                <a:gd name="connsiteY105" fmla="*/ 67514 h 597103"/>
                <a:gd name="connsiteX106" fmla="*/ 320974 w 621372"/>
                <a:gd name="connsiteY106" fmla="*/ 102108 h 597103"/>
                <a:gd name="connsiteX107" fmla="*/ 332860 w 621372"/>
                <a:gd name="connsiteY107" fmla="*/ 120396 h 597103"/>
                <a:gd name="connsiteX108" fmla="*/ 332860 w 621372"/>
                <a:gd name="connsiteY108" fmla="*/ 261214 h 597103"/>
                <a:gd name="connsiteX109" fmla="*/ 324479 w 621372"/>
                <a:gd name="connsiteY109" fmla="*/ 273101 h 597103"/>
                <a:gd name="connsiteX110" fmla="*/ 319754 w 621372"/>
                <a:gd name="connsiteY110" fmla="*/ 283921 h 597103"/>
                <a:gd name="connsiteX111" fmla="*/ 317773 w 621372"/>
                <a:gd name="connsiteY111" fmla="*/ 299161 h 597103"/>
                <a:gd name="connsiteX112" fmla="*/ 319754 w 621372"/>
                <a:gd name="connsiteY112" fmla="*/ 314401 h 597103"/>
                <a:gd name="connsiteX113" fmla="*/ 324479 w 621372"/>
                <a:gd name="connsiteY113" fmla="*/ 325070 h 597103"/>
                <a:gd name="connsiteX114" fmla="*/ 332860 w 621372"/>
                <a:gd name="connsiteY114" fmla="*/ 337109 h 597103"/>
                <a:gd name="connsiteX115" fmla="*/ 359074 w 621372"/>
                <a:gd name="connsiteY115" fmla="*/ 407061 h 597103"/>
                <a:gd name="connsiteX116" fmla="*/ 332860 w 621372"/>
                <a:gd name="connsiteY116" fmla="*/ 477927 h 597103"/>
                <a:gd name="connsiteX117" fmla="*/ 326155 w 621372"/>
                <a:gd name="connsiteY117" fmla="*/ 486614 h 597103"/>
                <a:gd name="connsiteX118" fmla="*/ 321735 w 621372"/>
                <a:gd name="connsiteY118" fmla="*/ 494538 h 597103"/>
                <a:gd name="connsiteX119" fmla="*/ 318535 w 621372"/>
                <a:gd name="connsiteY119" fmla="*/ 504140 h 597103"/>
                <a:gd name="connsiteX120" fmla="*/ 318535 w 621372"/>
                <a:gd name="connsiteY120" fmla="*/ 515264 h 597103"/>
                <a:gd name="connsiteX121" fmla="*/ 321735 w 621372"/>
                <a:gd name="connsiteY121" fmla="*/ 535077 h 597103"/>
                <a:gd name="connsiteX122" fmla="*/ 332555 w 621372"/>
                <a:gd name="connsiteY122" fmla="*/ 552450 h 597103"/>
                <a:gd name="connsiteX123" fmla="*/ 464687 w 621372"/>
                <a:gd name="connsiteY123" fmla="*/ 552450 h 597103"/>
                <a:gd name="connsiteX124" fmla="*/ 486937 w 621372"/>
                <a:gd name="connsiteY124" fmla="*/ 595427 h 597103"/>
                <a:gd name="connsiteX125" fmla="*/ 428872 w 621372"/>
                <a:gd name="connsiteY125" fmla="*/ 595427 h 597103"/>
                <a:gd name="connsiteX126" fmla="*/ 420795 w 621372"/>
                <a:gd name="connsiteY126" fmla="*/ 585216 h 597103"/>
                <a:gd name="connsiteX127" fmla="*/ 394582 w 621372"/>
                <a:gd name="connsiteY127" fmla="*/ 514350 h 597103"/>
                <a:gd name="connsiteX128" fmla="*/ 420795 w 621372"/>
                <a:gd name="connsiteY128" fmla="*/ 444399 h 597103"/>
                <a:gd name="connsiteX129" fmla="*/ 427654 w 621372"/>
                <a:gd name="connsiteY129" fmla="*/ 435102 h 597103"/>
                <a:gd name="connsiteX130" fmla="*/ 431920 w 621372"/>
                <a:gd name="connsiteY130" fmla="*/ 427634 h 597103"/>
                <a:gd name="connsiteX131" fmla="*/ 435121 w 621372"/>
                <a:gd name="connsiteY131" fmla="*/ 418034 h 597103"/>
                <a:gd name="connsiteX132" fmla="*/ 436035 w 621372"/>
                <a:gd name="connsiteY132" fmla="*/ 406146 h 597103"/>
                <a:gd name="connsiteX133" fmla="*/ 432835 w 621372"/>
                <a:gd name="connsiteY133" fmla="*/ 387096 h 597103"/>
                <a:gd name="connsiteX134" fmla="*/ 420795 w 621372"/>
                <a:gd name="connsiteY134" fmla="*/ 368808 h 597103"/>
                <a:gd name="connsiteX135" fmla="*/ 394582 w 621372"/>
                <a:gd name="connsiteY135" fmla="*/ 297942 h 597103"/>
                <a:gd name="connsiteX136" fmla="*/ 420795 w 621372"/>
                <a:gd name="connsiteY136" fmla="*/ 227991 h 597103"/>
                <a:gd name="connsiteX137" fmla="*/ 427654 w 621372"/>
                <a:gd name="connsiteY137" fmla="*/ 218847 h 597103"/>
                <a:gd name="connsiteX138" fmla="*/ 431920 w 621372"/>
                <a:gd name="connsiteY138" fmla="*/ 211227 h 597103"/>
                <a:gd name="connsiteX139" fmla="*/ 435121 w 621372"/>
                <a:gd name="connsiteY139" fmla="*/ 201778 h 597103"/>
                <a:gd name="connsiteX140" fmla="*/ 436035 w 621372"/>
                <a:gd name="connsiteY140" fmla="*/ 189738 h 597103"/>
                <a:gd name="connsiteX141" fmla="*/ 432835 w 621372"/>
                <a:gd name="connsiteY141" fmla="*/ 170688 h 597103"/>
                <a:gd name="connsiteX142" fmla="*/ 420795 w 621372"/>
                <a:gd name="connsiteY142" fmla="*/ 152400 h 597103"/>
                <a:gd name="connsiteX143" fmla="*/ 420795 w 621372"/>
                <a:gd name="connsiteY143" fmla="*/ 11583 h 597103"/>
                <a:gd name="connsiteX144" fmla="*/ 428872 w 621372"/>
                <a:gd name="connsiteY144" fmla="*/ 457 h 597103"/>
                <a:gd name="connsiteX145" fmla="*/ 486937 w 621372"/>
                <a:gd name="connsiteY145" fmla="*/ 457 h 597103"/>
                <a:gd name="connsiteX146" fmla="*/ 464687 w 621372"/>
                <a:gd name="connsiteY146" fmla="*/ 44196 h 597103"/>
                <a:gd name="connsiteX147" fmla="*/ 455847 w 621372"/>
                <a:gd name="connsiteY147" fmla="*/ 56084 h 597103"/>
                <a:gd name="connsiteX148" fmla="*/ 451123 w 621372"/>
                <a:gd name="connsiteY148" fmla="*/ 66904 h 597103"/>
                <a:gd name="connsiteX149" fmla="*/ 448685 w 621372"/>
                <a:gd name="connsiteY149" fmla="*/ 82144 h 597103"/>
                <a:gd name="connsiteX150" fmla="*/ 452342 w 621372"/>
                <a:gd name="connsiteY150" fmla="*/ 102108 h 597103"/>
                <a:gd name="connsiteX151" fmla="*/ 464687 w 621372"/>
                <a:gd name="connsiteY151" fmla="*/ 120396 h 597103"/>
                <a:gd name="connsiteX152" fmla="*/ 464687 w 621372"/>
                <a:gd name="connsiteY152" fmla="*/ 261214 h 597103"/>
                <a:gd name="connsiteX153" fmla="*/ 455847 w 621372"/>
                <a:gd name="connsiteY153" fmla="*/ 273101 h 597103"/>
                <a:gd name="connsiteX154" fmla="*/ 451123 w 621372"/>
                <a:gd name="connsiteY154" fmla="*/ 283921 h 597103"/>
                <a:gd name="connsiteX155" fmla="*/ 448685 w 621372"/>
                <a:gd name="connsiteY155" fmla="*/ 299161 h 597103"/>
                <a:gd name="connsiteX156" fmla="*/ 449903 w 621372"/>
                <a:gd name="connsiteY156" fmla="*/ 310744 h 597103"/>
                <a:gd name="connsiteX157" fmla="*/ 453409 w 621372"/>
                <a:gd name="connsiteY157" fmla="*/ 320650 h 597103"/>
                <a:gd name="connsiteX158" fmla="*/ 457829 w 621372"/>
                <a:gd name="connsiteY158" fmla="*/ 328270 h 597103"/>
                <a:gd name="connsiteX159" fmla="*/ 464687 w 621372"/>
                <a:gd name="connsiteY159" fmla="*/ 337414 h 597103"/>
                <a:gd name="connsiteX160" fmla="*/ 490137 w 621372"/>
                <a:gd name="connsiteY160" fmla="*/ 407365 h 597103"/>
                <a:gd name="connsiteX161" fmla="*/ 464687 w 621372"/>
                <a:gd name="connsiteY161" fmla="*/ 478231 h 597103"/>
                <a:gd name="connsiteX162" fmla="*/ 457829 w 621372"/>
                <a:gd name="connsiteY162" fmla="*/ 486918 h 597103"/>
                <a:gd name="connsiteX163" fmla="*/ 453409 w 621372"/>
                <a:gd name="connsiteY163" fmla="*/ 494843 h 597103"/>
                <a:gd name="connsiteX164" fmla="*/ 449903 w 621372"/>
                <a:gd name="connsiteY164" fmla="*/ 504444 h 597103"/>
                <a:gd name="connsiteX165" fmla="*/ 448685 w 621372"/>
                <a:gd name="connsiteY165" fmla="*/ 515570 h 597103"/>
                <a:gd name="connsiteX166" fmla="*/ 451123 w 621372"/>
                <a:gd name="connsiteY166" fmla="*/ 530810 h 597103"/>
                <a:gd name="connsiteX167" fmla="*/ 455847 w 621372"/>
                <a:gd name="connsiteY167" fmla="*/ 541477 h 597103"/>
                <a:gd name="connsiteX168" fmla="*/ 464687 w 621372"/>
                <a:gd name="connsiteY168" fmla="*/ 552450 h 597103"/>
                <a:gd name="connsiteX169" fmla="*/ 618916 w 621372"/>
                <a:gd name="connsiteY169" fmla="*/ 457 h 597103"/>
                <a:gd name="connsiteX170" fmla="*/ 595903 w 621372"/>
                <a:gd name="connsiteY170" fmla="*/ 44196 h 597103"/>
                <a:gd name="connsiteX171" fmla="*/ 587521 w 621372"/>
                <a:gd name="connsiteY171" fmla="*/ 56084 h 597103"/>
                <a:gd name="connsiteX172" fmla="*/ 582797 w 621372"/>
                <a:gd name="connsiteY172" fmla="*/ 66904 h 597103"/>
                <a:gd name="connsiteX173" fmla="*/ 580816 w 621372"/>
                <a:gd name="connsiteY173" fmla="*/ 82144 h 597103"/>
                <a:gd name="connsiteX174" fmla="*/ 580816 w 621372"/>
                <a:gd name="connsiteY174" fmla="*/ 94184 h 597103"/>
                <a:gd name="connsiteX175" fmla="*/ 584015 w 621372"/>
                <a:gd name="connsiteY175" fmla="*/ 103632 h 597103"/>
                <a:gd name="connsiteX176" fmla="*/ 588283 w 621372"/>
                <a:gd name="connsiteY176" fmla="*/ 111252 h 597103"/>
                <a:gd name="connsiteX177" fmla="*/ 595141 w 621372"/>
                <a:gd name="connsiteY177" fmla="*/ 120396 h 597103"/>
                <a:gd name="connsiteX178" fmla="*/ 595141 w 621372"/>
                <a:gd name="connsiteY178" fmla="*/ 261214 h 597103"/>
                <a:gd name="connsiteX179" fmla="*/ 586759 w 621372"/>
                <a:gd name="connsiteY179" fmla="*/ 273101 h 597103"/>
                <a:gd name="connsiteX180" fmla="*/ 582035 w 621372"/>
                <a:gd name="connsiteY180" fmla="*/ 283921 h 597103"/>
                <a:gd name="connsiteX181" fmla="*/ 580054 w 621372"/>
                <a:gd name="connsiteY181" fmla="*/ 299161 h 597103"/>
                <a:gd name="connsiteX182" fmla="*/ 583253 w 621372"/>
                <a:gd name="connsiteY182" fmla="*/ 319126 h 597103"/>
                <a:gd name="connsiteX183" fmla="*/ 595141 w 621372"/>
                <a:gd name="connsiteY183" fmla="*/ 337414 h 597103"/>
                <a:gd name="connsiteX184" fmla="*/ 621353 w 621372"/>
                <a:gd name="connsiteY184" fmla="*/ 407365 h 597103"/>
                <a:gd name="connsiteX185" fmla="*/ 595141 w 621372"/>
                <a:gd name="connsiteY185" fmla="*/ 478231 h 597103"/>
                <a:gd name="connsiteX186" fmla="*/ 586759 w 621372"/>
                <a:gd name="connsiteY186" fmla="*/ 490119 h 597103"/>
                <a:gd name="connsiteX187" fmla="*/ 582035 w 621372"/>
                <a:gd name="connsiteY187" fmla="*/ 500787 h 597103"/>
                <a:gd name="connsiteX188" fmla="*/ 580054 w 621372"/>
                <a:gd name="connsiteY188" fmla="*/ 516027 h 597103"/>
                <a:gd name="connsiteX189" fmla="*/ 583253 w 621372"/>
                <a:gd name="connsiteY189" fmla="*/ 535839 h 597103"/>
                <a:gd name="connsiteX190" fmla="*/ 595141 w 621372"/>
                <a:gd name="connsiteY190" fmla="*/ 554127 h 597103"/>
                <a:gd name="connsiteX191" fmla="*/ 618154 w 621372"/>
                <a:gd name="connsiteY191" fmla="*/ 597104 h 597103"/>
                <a:gd name="connsiteX192" fmla="*/ 560089 w 621372"/>
                <a:gd name="connsiteY192" fmla="*/ 597104 h 597103"/>
                <a:gd name="connsiteX193" fmla="*/ 552926 w 621372"/>
                <a:gd name="connsiteY193" fmla="*/ 586893 h 597103"/>
                <a:gd name="connsiteX194" fmla="*/ 526714 w 621372"/>
                <a:gd name="connsiteY194" fmla="*/ 516027 h 597103"/>
                <a:gd name="connsiteX195" fmla="*/ 552926 w 621372"/>
                <a:gd name="connsiteY195" fmla="*/ 446075 h 597103"/>
                <a:gd name="connsiteX196" fmla="*/ 561308 w 621372"/>
                <a:gd name="connsiteY196" fmla="*/ 434035 h 597103"/>
                <a:gd name="connsiteX197" fmla="*/ 566032 w 621372"/>
                <a:gd name="connsiteY197" fmla="*/ 423367 h 597103"/>
                <a:gd name="connsiteX198" fmla="*/ 566032 w 621372"/>
                <a:gd name="connsiteY198" fmla="*/ 392887 h 597103"/>
                <a:gd name="connsiteX199" fmla="*/ 561308 w 621372"/>
                <a:gd name="connsiteY199" fmla="*/ 382220 h 597103"/>
                <a:gd name="connsiteX200" fmla="*/ 552926 w 621372"/>
                <a:gd name="connsiteY200" fmla="*/ 370332 h 597103"/>
                <a:gd name="connsiteX201" fmla="*/ 526714 w 621372"/>
                <a:gd name="connsiteY201" fmla="*/ 299466 h 597103"/>
                <a:gd name="connsiteX202" fmla="*/ 552926 w 621372"/>
                <a:gd name="connsiteY202" fmla="*/ 229514 h 597103"/>
                <a:gd name="connsiteX203" fmla="*/ 561308 w 621372"/>
                <a:gd name="connsiteY203" fmla="*/ 217627 h 597103"/>
                <a:gd name="connsiteX204" fmla="*/ 566032 w 621372"/>
                <a:gd name="connsiteY204" fmla="*/ 206807 h 597103"/>
                <a:gd name="connsiteX205" fmla="*/ 568013 w 621372"/>
                <a:gd name="connsiteY205" fmla="*/ 191567 h 597103"/>
                <a:gd name="connsiteX206" fmla="*/ 564814 w 621372"/>
                <a:gd name="connsiteY206" fmla="*/ 172517 h 597103"/>
                <a:gd name="connsiteX207" fmla="*/ 552926 w 621372"/>
                <a:gd name="connsiteY207" fmla="*/ 154229 h 597103"/>
                <a:gd name="connsiteX208" fmla="*/ 552926 w 621372"/>
                <a:gd name="connsiteY208" fmla="*/ 13411 h 597103"/>
                <a:gd name="connsiteX209" fmla="*/ 560851 w 621372"/>
                <a:gd name="connsiteY209" fmla="*/ 2286 h 59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621372" h="597103">
                  <a:moveTo>
                    <a:pt x="69209" y="552450"/>
                  </a:moveTo>
                  <a:cubicBezTo>
                    <a:pt x="79907" y="564962"/>
                    <a:pt x="87801" y="579608"/>
                    <a:pt x="92374" y="595427"/>
                  </a:cubicBezTo>
                  <a:lnTo>
                    <a:pt x="33395" y="595427"/>
                  </a:lnTo>
                  <a:cubicBezTo>
                    <a:pt x="31337" y="591800"/>
                    <a:pt x="28944" y="588386"/>
                    <a:pt x="26232" y="585216"/>
                  </a:cubicBezTo>
                  <a:cubicBezTo>
                    <a:pt x="9834" y="565176"/>
                    <a:pt x="598" y="540243"/>
                    <a:pt x="19" y="514350"/>
                  </a:cubicBezTo>
                  <a:cubicBezTo>
                    <a:pt x="674" y="488762"/>
                    <a:pt x="9910" y="464119"/>
                    <a:pt x="26232" y="444399"/>
                  </a:cubicBezTo>
                  <a:lnTo>
                    <a:pt x="34613" y="432359"/>
                  </a:lnTo>
                  <a:cubicBezTo>
                    <a:pt x="36778" y="429098"/>
                    <a:pt x="38378" y="425486"/>
                    <a:pt x="39338" y="421691"/>
                  </a:cubicBezTo>
                  <a:cubicBezTo>
                    <a:pt x="42204" y="411739"/>
                    <a:pt x="42204" y="401163"/>
                    <a:pt x="39338" y="391211"/>
                  </a:cubicBezTo>
                  <a:cubicBezTo>
                    <a:pt x="38378" y="387416"/>
                    <a:pt x="36778" y="383805"/>
                    <a:pt x="34613" y="380543"/>
                  </a:cubicBezTo>
                  <a:lnTo>
                    <a:pt x="26232" y="368656"/>
                  </a:lnTo>
                  <a:cubicBezTo>
                    <a:pt x="9834" y="348615"/>
                    <a:pt x="598" y="323683"/>
                    <a:pt x="19" y="297790"/>
                  </a:cubicBezTo>
                  <a:cubicBezTo>
                    <a:pt x="705" y="272202"/>
                    <a:pt x="9925" y="247574"/>
                    <a:pt x="26232" y="227838"/>
                  </a:cubicBezTo>
                  <a:lnTo>
                    <a:pt x="34613" y="215951"/>
                  </a:lnTo>
                  <a:cubicBezTo>
                    <a:pt x="36778" y="212628"/>
                    <a:pt x="38363" y="208971"/>
                    <a:pt x="39338" y="205131"/>
                  </a:cubicBezTo>
                  <a:cubicBezTo>
                    <a:pt x="40801" y="200193"/>
                    <a:pt x="41533" y="195042"/>
                    <a:pt x="41472" y="189891"/>
                  </a:cubicBezTo>
                  <a:cubicBezTo>
                    <a:pt x="41533" y="184739"/>
                    <a:pt x="40817" y="179588"/>
                    <a:pt x="39338" y="174651"/>
                  </a:cubicBezTo>
                  <a:cubicBezTo>
                    <a:pt x="38363" y="170810"/>
                    <a:pt x="36778" y="167153"/>
                    <a:pt x="34613" y="163830"/>
                  </a:cubicBezTo>
                  <a:lnTo>
                    <a:pt x="26232" y="151943"/>
                  </a:lnTo>
                  <a:cubicBezTo>
                    <a:pt x="-8744" y="111527"/>
                    <a:pt x="-8744" y="51542"/>
                    <a:pt x="26232" y="11125"/>
                  </a:cubicBezTo>
                  <a:cubicBezTo>
                    <a:pt x="30042" y="5791"/>
                    <a:pt x="32632" y="2134"/>
                    <a:pt x="34309" y="0"/>
                  </a:cubicBezTo>
                  <a:lnTo>
                    <a:pt x="92374" y="0"/>
                  </a:lnTo>
                  <a:cubicBezTo>
                    <a:pt x="87726" y="16017"/>
                    <a:pt x="79846" y="30892"/>
                    <a:pt x="69209" y="43739"/>
                  </a:cubicBezTo>
                  <a:cubicBezTo>
                    <a:pt x="65551" y="49073"/>
                    <a:pt x="62808" y="53035"/>
                    <a:pt x="60827" y="55626"/>
                  </a:cubicBezTo>
                  <a:cubicBezTo>
                    <a:pt x="58724" y="58979"/>
                    <a:pt x="57139" y="62621"/>
                    <a:pt x="56102" y="66447"/>
                  </a:cubicBezTo>
                  <a:cubicBezTo>
                    <a:pt x="53085" y="77846"/>
                    <a:pt x="53511" y="89886"/>
                    <a:pt x="57321" y="101041"/>
                  </a:cubicBezTo>
                  <a:cubicBezTo>
                    <a:pt x="60598" y="107549"/>
                    <a:pt x="64591" y="113691"/>
                    <a:pt x="69209" y="119329"/>
                  </a:cubicBezTo>
                  <a:cubicBezTo>
                    <a:pt x="104596" y="159609"/>
                    <a:pt x="104596" y="219868"/>
                    <a:pt x="69209" y="260147"/>
                  </a:cubicBezTo>
                  <a:cubicBezTo>
                    <a:pt x="65551" y="265481"/>
                    <a:pt x="62808" y="269444"/>
                    <a:pt x="60827" y="272034"/>
                  </a:cubicBezTo>
                  <a:cubicBezTo>
                    <a:pt x="58724" y="275387"/>
                    <a:pt x="57139" y="279030"/>
                    <a:pt x="56102" y="282854"/>
                  </a:cubicBezTo>
                  <a:cubicBezTo>
                    <a:pt x="54654" y="287792"/>
                    <a:pt x="53983" y="292944"/>
                    <a:pt x="54121" y="298094"/>
                  </a:cubicBezTo>
                  <a:cubicBezTo>
                    <a:pt x="53832" y="304892"/>
                    <a:pt x="54914" y="311688"/>
                    <a:pt x="57321" y="318059"/>
                  </a:cubicBezTo>
                  <a:cubicBezTo>
                    <a:pt x="60598" y="324566"/>
                    <a:pt x="64591" y="330708"/>
                    <a:pt x="69209" y="336347"/>
                  </a:cubicBezTo>
                  <a:cubicBezTo>
                    <a:pt x="85637" y="356022"/>
                    <a:pt x="94934" y="380680"/>
                    <a:pt x="95573" y="406299"/>
                  </a:cubicBezTo>
                  <a:cubicBezTo>
                    <a:pt x="94995" y="432207"/>
                    <a:pt x="85714" y="457170"/>
                    <a:pt x="69209" y="477164"/>
                  </a:cubicBezTo>
                  <a:cubicBezTo>
                    <a:pt x="65551" y="482346"/>
                    <a:pt x="62808" y="486309"/>
                    <a:pt x="60827" y="488594"/>
                  </a:cubicBezTo>
                  <a:cubicBezTo>
                    <a:pt x="58617" y="491886"/>
                    <a:pt x="57017" y="495559"/>
                    <a:pt x="56102" y="499415"/>
                  </a:cubicBezTo>
                  <a:cubicBezTo>
                    <a:pt x="54715" y="504368"/>
                    <a:pt x="54045" y="509504"/>
                    <a:pt x="54121" y="514655"/>
                  </a:cubicBezTo>
                  <a:cubicBezTo>
                    <a:pt x="53816" y="521406"/>
                    <a:pt x="54898" y="528158"/>
                    <a:pt x="57321" y="534467"/>
                  </a:cubicBezTo>
                  <a:cubicBezTo>
                    <a:pt x="60552" y="540914"/>
                    <a:pt x="64545" y="546949"/>
                    <a:pt x="69209" y="552450"/>
                  </a:cubicBezTo>
                  <a:close/>
                  <a:moveTo>
                    <a:pt x="200577" y="552450"/>
                  </a:moveTo>
                  <a:cubicBezTo>
                    <a:pt x="211230" y="564962"/>
                    <a:pt x="219078" y="579623"/>
                    <a:pt x="223590" y="595427"/>
                  </a:cubicBezTo>
                  <a:lnTo>
                    <a:pt x="165525" y="595427"/>
                  </a:lnTo>
                  <a:lnTo>
                    <a:pt x="157600" y="585216"/>
                  </a:lnTo>
                  <a:cubicBezTo>
                    <a:pt x="141095" y="565221"/>
                    <a:pt x="131814" y="540258"/>
                    <a:pt x="131235" y="514350"/>
                  </a:cubicBezTo>
                  <a:cubicBezTo>
                    <a:pt x="131875" y="488732"/>
                    <a:pt x="141172" y="464074"/>
                    <a:pt x="157600" y="444399"/>
                  </a:cubicBezTo>
                  <a:cubicBezTo>
                    <a:pt x="160801" y="440131"/>
                    <a:pt x="162935" y="437084"/>
                    <a:pt x="164306" y="435102"/>
                  </a:cubicBezTo>
                  <a:cubicBezTo>
                    <a:pt x="165967" y="432725"/>
                    <a:pt x="167445" y="430225"/>
                    <a:pt x="168725" y="427634"/>
                  </a:cubicBezTo>
                  <a:cubicBezTo>
                    <a:pt x="170204" y="424587"/>
                    <a:pt x="171271" y="421356"/>
                    <a:pt x="171926" y="418034"/>
                  </a:cubicBezTo>
                  <a:cubicBezTo>
                    <a:pt x="172460" y="414101"/>
                    <a:pt x="172719" y="410124"/>
                    <a:pt x="172688" y="406146"/>
                  </a:cubicBezTo>
                  <a:cubicBezTo>
                    <a:pt x="172947" y="399639"/>
                    <a:pt x="171866" y="393162"/>
                    <a:pt x="169488" y="387096"/>
                  </a:cubicBezTo>
                  <a:cubicBezTo>
                    <a:pt x="166287" y="380543"/>
                    <a:pt x="162294" y="374401"/>
                    <a:pt x="157600" y="368808"/>
                  </a:cubicBezTo>
                  <a:cubicBezTo>
                    <a:pt x="141095" y="348813"/>
                    <a:pt x="131814" y="323850"/>
                    <a:pt x="131235" y="297942"/>
                  </a:cubicBezTo>
                  <a:cubicBezTo>
                    <a:pt x="131906" y="272324"/>
                    <a:pt x="141187" y="247681"/>
                    <a:pt x="157600" y="227991"/>
                  </a:cubicBezTo>
                  <a:lnTo>
                    <a:pt x="164306" y="218847"/>
                  </a:lnTo>
                  <a:cubicBezTo>
                    <a:pt x="165967" y="216424"/>
                    <a:pt x="167430" y="213863"/>
                    <a:pt x="168725" y="211227"/>
                  </a:cubicBezTo>
                  <a:cubicBezTo>
                    <a:pt x="170174" y="208224"/>
                    <a:pt x="171255" y="205054"/>
                    <a:pt x="171926" y="201778"/>
                  </a:cubicBezTo>
                  <a:cubicBezTo>
                    <a:pt x="172460" y="197785"/>
                    <a:pt x="172719" y="193762"/>
                    <a:pt x="172688" y="189738"/>
                  </a:cubicBezTo>
                  <a:cubicBezTo>
                    <a:pt x="172947" y="183231"/>
                    <a:pt x="171866" y="176754"/>
                    <a:pt x="169488" y="170688"/>
                  </a:cubicBezTo>
                  <a:cubicBezTo>
                    <a:pt x="166211" y="164181"/>
                    <a:pt x="162219" y="158039"/>
                    <a:pt x="157600" y="152400"/>
                  </a:cubicBezTo>
                  <a:cubicBezTo>
                    <a:pt x="122214" y="112121"/>
                    <a:pt x="122214" y="51862"/>
                    <a:pt x="157600" y="11583"/>
                  </a:cubicBezTo>
                  <a:cubicBezTo>
                    <a:pt x="160512" y="8077"/>
                    <a:pt x="163163" y="4359"/>
                    <a:pt x="165525" y="457"/>
                  </a:cubicBezTo>
                  <a:lnTo>
                    <a:pt x="224352" y="457"/>
                  </a:lnTo>
                  <a:cubicBezTo>
                    <a:pt x="219277" y="16413"/>
                    <a:pt x="211200" y="31257"/>
                    <a:pt x="200577" y="44196"/>
                  </a:cubicBezTo>
                  <a:cubicBezTo>
                    <a:pt x="196767" y="49530"/>
                    <a:pt x="194177" y="53493"/>
                    <a:pt x="192501" y="56084"/>
                  </a:cubicBezTo>
                  <a:cubicBezTo>
                    <a:pt x="190641" y="59497"/>
                    <a:pt x="189209" y="63139"/>
                    <a:pt x="188233" y="66904"/>
                  </a:cubicBezTo>
                  <a:cubicBezTo>
                    <a:pt x="185246" y="78303"/>
                    <a:pt x="185612" y="90312"/>
                    <a:pt x="189300" y="101498"/>
                  </a:cubicBezTo>
                  <a:cubicBezTo>
                    <a:pt x="192501" y="107930"/>
                    <a:pt x="196264" y="114041"/>
                    <a:pt x="200577" y="119787"/>
                  </a:cubicBezTo>
                  <a:cubicBezTo>
                    <a:pt x="236574" y="159822"/>
                    <a:pt x="236574" y="220569"/>
                    <a:pt x="200577" y="260604"/>
                  </a:cubicBezTo>
                  <a:cubicBezTo>
                    <a:pt x="196767" y="265938"/>
                    <a:pt x="194177" y="269901"/>
                    <a:pt x="192501" y="272491"/>
                  </a:cubicBezTo>
                  <a:cubicBezTo>
                    <a:pt x="190641" y="275905"/>
                    <a:pt x="189209" y="279548"/>
                    <a:pt x="188233" y="283312"/>
                  </a:cubicBezTo>
                  <a:cubicBezTo>
                    <a:pt x="186800" y="288265"/>
                    <a:pt x="186145" y="293401"/>
                    <a:pt x="186252" y="298552"/>
                  </a:cubicBezTo>
                  <a:cubicBezTo>
                    <a:pt x="186161" y="303703"/>
                    <a:pt x="186831" y="308839"/>
                    <a:pt x="188233" y="313792"/>
                  </a:cubicBezTo>
                  <a:cubicBezTo>
                    <a:pt x="189162" y="317526"/>
                    <a:pt x="190610" y="321107"/>
                    <a:pt x="192501" y="324460"/>
                  </a:cubicBezTo>
                  <a:cubicBezTo>
                    <a:pt x="194177" y="327203"/>
                    <a:pt x="196767" y="331165"/>
                    <a:pt x="200577" y="336500"/>
                  </a:cubicBezTo>
                  <a:cubicBezTo>
                    <a:pt x="217357" y="356007"/>
                    <a:pt x="226882" y="380726"/>
                    <a:pt x="227552" y="406451"/>
                  </a:cubicBezTo>
                  <a:cubicBezTo>
                    <a:pt x="226942" y="432466"/>
                    <a:pt x="217417" y="457490"/>
                    <a:pt x="200577" y="477317"/>
                  </a:cubicBezTo>
                  <a:cubicBezTo>
                    <a:pt x="196767" y="482499"/>
                    <a:pt x="194177" y="486461"/>
                    <a:pt x="192501" y="488747"/>
                  </a:cubicBezTo>
                  <a:cubicBezTo>
                    <a:pt x="190534" y="492115"/>
                    <a:pt x="189087" y="495757"/>
                    <a:pt x="188233" y="499567"/>
                  </a:cubicBezTo>
                  <a:cubicBezTo>
                    <a:pt x="186846" y="504520"/>
                    <a:pt x="186175" y="509656"/>
                    <a:pt x="186252" y="514807"/>
                  </a:cubicBezTo>
                  <a:cubicBezTo>
                    <a:pt x="185901" y="521544"/>
                    <a:pt x="186937" y="528295"/>
                    <a:pt x="189300" y="534620"/>
                  </a:cubicBezTo>
                  <a:cubicBezTo>
                    <a:pt x="192454" y="540929"/>
                    <a:pt x="196234" y="546903"/>
                    <a:pt x="200577" y="552450"/>
                  </a:cubicBezTo>
                  <a:close/>
                  <a:moveTo>
                    <a:pt x="332555" y="552450"/>
                  </a:moveTo>
                  <a:cubicBezTo>
                    <a:pt x="343209" y="564962"/>
                    <a:pt x="351057" y="579623"/>
                    <a:pt x="355568" y="595427"/>
                  </a:cubicBezTo>
                  <a:lnTo>
                    <a:pt x="296742" y="595427"/>
                  </a:lnTo>
                  <a:cubicBezTo>
                    <a:pt x="294624" y="591831"/>
                    <a:pt x="292230" y="588417"/>
                    <a:pt x="289579" y="585216"/>
                  </a:cubicBezTo>
                  <a:cubicBezTo>
                    <a:pt x="273120" y="565221"/>
                    <a:pt x="263884" y="540243"/>
                    <a:pt x="263366" y="514350"/>
                  </a:cubicBezTo>
                  <a:cubicBezTo>
                    <a:pt x="263946" y="488747"/>
                    <a:pt x="273196" y="464089"/>
                    <a:pt x="289579" y="444399"/>
                  </a:cubicBezTo>
                  <a:lnTo>
                    <a:pt x="297961" y="432359"/>
                  </a:lnTo>
                  <a:cubicBezTo>
                    <a:pt x="300125" y="429098"/>
                    <a:pt x="301726" y="425486"/>
                    <a:pt x="302685" y="421691"/>
                  </a:cubicBezTo>
                  <a:cubicBezTo>
                    <a:pt x="304072" y="416738"/>
                    <a:pt x="304727" y="411602"/>
                    <a:pt x="304667" y="406451"/>
                  </a:cubicBezTo>
                  <a:cubicBezTo>
                    <a:pt x="304925" y="399944"/>
                    <a:pt x="303844" y="393467"/>
                    <a:pt x="301466" y="387401"/>
                  </a:cubicBezTo>
                  <a:cubicBezTo>
                    <a:pt x="298312" y="380817"/>
                    <a:pt x="294319" y="374660"/>
                    <a:pt x="289579" y="369113"/>
                  </a:cubicBezTo>
                  <a:cubicBezTo>
                    <a:pt x="273120" y="349118"/>
                    <a:pt x="263884" y="324140"/>
                    <a:pt x="263366" y="298247"/>
                  </a:cubicBezTo>
                  <a:cubicBezTo>
                    <a:pt x="263975" y="272644"/>
                    <a:pt x="273211" y="248001"/>
                    <a:pt x="289579" y="228295"/>
                  </a:cubicBezTo>
                  <a:lnTo>
                    <a:pt x="297961" y="216408"/>
                  </a:lnTo>
                  <a:cubicBezTo>
                    <a:pt x="300125" y="213086"/>
                    <a:pt x="301710" y="209428"/>
                    <a:pt x="302685" y="205588"/>
                  </a:cubicBezTo>
                  <a:cubicBezTo>
                    <a:pt x="304087" y="200635"/>
                    <a:pt x="304758" y="195499"/>
                    <a:pt x="304667" y="190348"/>
                  </a:cubicBezTo>
                  <a:cubicBezTo>
                    <a:pt x="304925" y="183840"/>
                    <a:pt x="303844" y="177363"/>
                    <a:pt x="301466" y="171298"/>
                  </a:cubicBezTo>
                  <a:cubicBezTo>
                    <a:pt x="298250" y="164744"/>
                    <a:pt x="294257" y="158603"/>
                    <a:pt x="289579" y="153010"/>
                  </a:cubicBezTo>
                  <a:cubicBezTo>
                    <a:pt x="254603" y="112593"/>
                    <a:pt x="254603" y="52608"/>
                    <a:pt x="289579" y="12192"/>
                  </a:cubicBezTo>
                  <a:cubicBezTo>
                    <a:pt x="293237" y="6858"/>
                    <a:pt x="295980" y="3201"/>
                    <a:pt x="297503" y="1067"/>
                  </a:cubicBezTo>
                  <a:lnTo>
                    <a:pt x="355873" y="1067"/>
                  </a:lnTo>
                  <a:cubicBezTo>
                    <a:pt x="351301" y="17084"/>
                    <a:pt x="343467" y="31974"/>
                    <a:pt x="332860" y="44806"/>
                  </a:cubicBezTo>
                  <a:lnTo>
                    <a:pt x="324479" y="56693"/>
                  </a:lnTo>
                  <a:cubicBezTo>
                    <a:pt x="322375" y="60046"/>
                    <a:pt x="320790" y="63688"/>
                    <a:pt x="319754" y="67514"/>
                  </a:cubicBezTo>
                  <a:cubicBezTo>
                    <a:pt x="316737" y="78913"/>
                    <a:pt x="317164" y="90953"/>
                    <a:pt x="320974" y="102108"/>
                  </a:cubicBezTo>
                  <a:cubicBezTo>
                    <a:pt x="324250" y="108616"/>
                    <a:pt x="328243" y="114757"/>
                    <a:pt x="332860" y="120396"/>
                  </a:cubicBezTo>
                  <a:cubicBezTo>
                    <a:pt x="367836" y="160813"/>
                    <a:pt x="367836" y="220797"/>
                    <a:pt x="332860" y="261214"/>
                  </a:cubicBezTo>
                  <a:lnTo>
                    <a:pt x="324479" y="273101"/>
                  </a:lnTo>
                  <a:cubicBezTo>
                    <a:pt x="322375" y="276454"/>
                    <a:pt x="320790" y="280096"/>
                    <a:pt x="319754" y="283921"/>
                  </a:cubicBezTo>
                  <a:cubicBezTo>
                    <a:pt x="318322" y="288875"/>
                    <a:pt x="317666" y="294010"/>
                    <a:pt x="317773" y="299161"/>
                  </a:cubicBezTo>
                  <a:cubicBezTo>
                    <a:pt x="317682" y="304313"/>
                    <a:pt x="318352" y="309449"/>
                    <a:pt x="319754" y="314401"/>
                  </a:cubicBezTo>
                  <a:cubicBezTo>
                    <a:pt x="320760" y="318181"/>
                    <a:pt x="322345" y="321778"/>
                    <a:pt x="324479" y="325070"/>
                  </a:cubicBezTo>
                  <a:lnTo>
                    <a:pt x="332860" y="337109"/>
                  </a:lnTo>
                  <a:cubicBezTo>
                    <a:pt x="349244" y="356799"/>
                    <a:pt x="358494" y="381457"/>
                    <a:pt x="359074" y="407061"/>
                  </a:cubicBezTo>
                  <a:cubicBezTo>
                    <a:pt x="358556" y="432953"/>
                    <a:pt x="349320" y="457932"/>
                    <a:pt x="332860" y="477927"/>
                  </a:cubicBezTo>
                  <a:cubicBezTo>
                    <a:pt x="330361" y="480609"/>
                    <a:pt x="328121" y="483520"/>
                    <a:pt x="326155" y="486614"/>
                  </a:cubicBezTo>
                  <a:cubicBezTo>
                    <a:pt x="324509" y="489159"/>
                    <a:pt x="323030" y="491810"/>
                    <a:pt x="321735" y="494538"/>
                  </a:cubicBezTo>
                  <a:cubicBezTo>
                    <a:pt x="320196" y="497556"/>
                    <a:pt x="319114" y="500802"/>
                    <a:pt x="318535" y="504140"/>
                  </a:cubicBezTo>
                  <a:cubicBezTo>
                    <a:pt x="318276" y="507843"/>
                    <a:pt x="318276" y="511561"/>
                    <a:pt x="318535" y="515264"/>
                  </a:cubicBezTo>
                  <a:cubicBezTo>
                    <a:pt x="318231" y="522016"/>
                    <a:pt x="319312" y="528767"/>
                    <a:pt x="321735" y="535077"/>
                  </a:cubicBezTo>
                  <a:cubicBezTo>
                    <a:pt x="324662" y="541264"/>
                    <a:pt x="328303" y="547086"/>
                    <a:pt x="332555" y="552450"/>
                  </a:cubicBezTo>
                  <a:close/>
                  <a:moveTo>
                    <a:pt x="464687" y="552450"/>
                  </a:moveTo>
                  <a:cubicBezTo>
                    <a:pt x="474928" y="565130"/>
                    <a:pt x="482487" y="579745"/>
                    <a:pt x="486937" y="595427"/>
                  </a:cubicBezTo>
                  <a:lnTo>
                    <a:pt x="428872" y="595427"/>
                  </a:lnTo>
                  <a:lnTo>
                    <a:pt x="420795" y="585216"/>
                  </a:lnTo>
                  <a:cubicBezTo>
                    <a:pt x="404397" y="565176"/>
                    <a:pt x="395162" y="540243"/>
                    <a:pt x="394582" y="514350"/>
                  </a:cubicBezTo>
                  <a:cubicBezTo>
                    <a:pt x="395238" y="488762"/>
                    <a:pt x="404474" y="464119"/>
                    <a:pt x="420795" y="444399"/>
                  </a:cubicBezTo>
                  <a:lnTo>
                    <a:pt x="427654" y="435102"/>
                  </a:lnTo>
                  <a:cubicBezTo>
                    <a:pt x="429254" y="432725"/>
                    <a:pt x="430686" y="430225"/>
                    <a:pt x="431920" y="427634"/>
                  </a:cubicBezTo>
                  <a:cubicBezTo>
                    <a:pt x="433520" y="424632"/>
                    <a:pt x="434603" y="421386"/>
                    <a:pt x="435121" y="418034"/>
                  </a:cubicBezTo>
                  <a:cubicBezTo>
                    <a:pt x="435792" y="414101"/>
                    <a:pt x="436096" y="410124"/>
                    <a:pt x="436035" y="406146"/>
                  </a:cubicBezTo>
                  <a:cubicBezTo>
                    <a:pt x="436294" y="399639"/>
                    <a:pt x="435212" y="393162"/>
                    <a:pt x="432835" y="387096"/>
                  </a:cubicBezTo>
                  <a:cubicBezTo>
                    <a:pt x="429619" y="380513"/>
                    <a:pt x="425580" y="374355"/>
                    <a:pt x="420795" y="368808"/>
                  </a:cubicBezTo>
                  <a:cubicBezTo>
                    <a:pt x="404397" y="348768"/>
                    <a:pt x="395162" y="323835"/>
                    <a:pt x="394582" y="297942"/>
                  </a:cubicBezTo>
                  <a:cubicBezTo>
                    <a:pt x="395269" y="272354"/>
                    <a:pt x="404489" y="247726"/>
                    <a:pt x="420795" y="227991"/>
                  </a:cubicBezTo>
                  <a:lnTo>
                    <a:pt x="427654" y="218847"/>
                  </a:lnTo>
                  <a:cubicBezTo>
                    <a:pt x="429254" y="216408"/>
                    <a:pt x="430686" y="213863"/>
                    <a:pt x="431920" y="211227"/>
                  </a:cubicBezTo>
                  <a:cubicBezTo>
                    <a:pt x="433505" y="208270"/>
                    <a:pt x="434587" y="205085"/>
                    <a:pt x="435121" y="201778"/>
                  </a:cubicBezTo>
                  <a:cubicBezTo>
                    <a:pt x="435792" y="197800"/>
                    <a:pt x="436096" y="193777"/>
                    <a:pt x="436035" y="189738"/>
                  </a:cubicBezTo>
                  <a:cubicBezTo>
                    <a:pt x="436294" y="183231"/>
                    <a:pt x="435212" y="176754"/>
                    <a:pt x="432835" y="170688"/>
                  </a:cubicBezTo>
                  <a:cubicBezTo>
                    <a:pt x="429559" y="164135"/>
                    <a:pt x="425504" y="158009"/>
                    <a:pt x="420795" y="152400"/>
                  </a:cubicBezTo>
                  <a:cubicBezTo>
                    <a:pt x="385820" y="111984"/>
                    <a:pt x="385820" y="51999"/>
                    <a:pt x="420795" y="11583"/>
                  </a:cubicBezTo>
                  <a:cubicBezTo>
                    <a:pt x="423782" y="8108"/>
                    <a:pt x="426495" y="4374"/>
                    <a:pt x="428872" y="457"/>
                  </a:cubicBezTo>
                  <a:lnTo>
                    <a:pt x="486937" y="457"/>
                  </a:lnTo>
                  <a:cubicBezTo>
                    <a:pt x="482426" y="16338"/>
                    <a:pt x="474867" y="31196"/>
                    <a:pt x="464687" y="44196"/>
                  </a:cubicBezTo>
                  <a:cubicBezTo>
                    <a:pt x="460419" y="49530"/>
                    <a:pt x="457523" y="53493"/>
                    <a:pt x="455847" y="56084"/>
                  </a:cubicBezTo>
                  <a:cubicBezTo>
                    <a:pt x="453942" y="59528"/>
                    <a:pt x="452357" y="63155"/>
                    <a:pt x="451123" y="66904"/>
                  </a:cubicBezTo>
                  <a:cubicBezTo>
                    <a:pt x="449370" y="71781"/>
                    <a:pt x="448547" y="76962"/>
                    <a:pt x="448685" y="82144"/>
                  </a:cubicBezTo>
                  <a:cubicBezTo>
                    <a:pt x="448349" y="88987"/>
                    <a:pt x="449599" y="95829"/>
                    <a:pt x="452342" y="102108"/>
                  </a:cubicBezTo>
                  <a:cubicBezTo>
                    <a:pt x="455817" y="108616"/>
                    <a:pt x="459947" y="114742"/>
                    <a:pt x="464687" y="120396"/>
                  </a:cubicBezTo>
                  <a:cubicBezTo>
                    <a:pt x="498595" y="161209"/>
                    <a:pt x="498595" y="220401"/>
                    <a:pt x="464687" y="261214"/>
                  </a:cubicBezTo>
                  <a:cubicBezTo>
                    <a:pt x="460419" y="266548"/>
                    <a:pt x="457523" y="270510"/>
                    <a:pt x="455847" y="273101"/>
                  </a:cubicBezTo>
                  <a:cubicBezTo>
                    <a:pt x="453942" y="276545"/>
                    <a:pt x="452357" y="280172"/>
                    <a:pt x="451123" y="283921"/>
                  </a:cubicBezTo>
                  <a:cubicBezTo>
                    <a:pt x="449355" y="288798"/>
                    <a:pt x="448532" y="293980"/>
                    <a:pt x="448685" y="299161"/>
                  </a:cubicBezTo>
                  <a:cubicBezTo>
                    <a:pt x="448669" y="303048"/>
                    <a:pt x="449081" y="306934"/>
                    <a:pt x="449903" y="310744"/>
                  </a:cubicBezTo>
                  <a:cubicBezTo>
                    <a:pt x="450712" y="314158"/>
                    <a:pt x="451885" y="317480"/>
                    <a:pt x="453409" y="320650"/>
                  </a:cubicBezTo>
                  <a:cubicBezTo>
                    <a:pt x="454735" y="323271"/>
                    <a:pt x="456198" y="325816"/>
                    <a:pt x="457829" y="328270"/>
                  </a:cubicBezTo>
                  <a:lnTo>
                    <a:pt x="464687" y="337414"/>
                  </a:lnTo>
                  <a:cubicBezTo>
                    <a:pt x="480627" y="357302"/>
                    <a:pt x="489574" y="381884"/>
                    <a:pt x="490137" y="407365"/>
                  </a:cubicBezTo>
                  <a:cubicBezTo>
                    <a:pt x="489634" y="433136"/>
                    <a:pt x="480689" y="458023"/>
                    <a:pt x="464687" y="478231"/>
                  </a:cubicBezTo>
                  <a:cubicBezTo>
                    <a:pt x="462202" y="480974"/>
                    <a:pt x="459917" y="483870"/>
                    <a:pt x="457829" y="486918"/>
                  </a:cubicBezTo>
                  <a:cubicBezTo>
                    <a:pt x="456457" y="489052"/>
                    <a:pt x="455085" y="491643"/>
                    <a:pt x="453409" y="494843"/>
                  </a:cubicBezTo>
                  <a:cubicBezTo>
                    <a:pt x="451915" y="497906"/>
                    <a:pt x="450727" y="501137"/>
                    <a:pt x="449903" y="504444"/>
                  </a:cubicBezTo>
                  <a:cubicBezTo>
                    <a:pt x="449065" y="508087"/>
                    <a:pt x="448654" y="511820"/>
                    <a:pt x="448685" y="515570"/>
                  </a:cubicBezTo>
                  <a:cubicBezTo>
                    <a:pt x="448624" y="520751"/>
                    <a:pt x="449447" y="525902"/>
                    <a:pt x="451123" y="530810"/>
                  </a:cubicBezTo>
                  <a:cubicBezTo>
                    <a:pt x="452357" y="534513"/>
                    <a:pt x="453942" y="538079"/>
                    <a:pt x="455847" y="541477"/>
                  </a:cubicBezTo>
                  <a:cubicBezTo>
                    <a:pt x="458560" y="545318"/>
                    <a:pt x="461517" y="548975"/>
                    <a:pt x="464687" y="552450"/>
                  </a:cubicBezTo>
                  <a:close/>
                  <a:moveTo>
                    <a:pt x="618916" y="457"/>
                  </a:moveTo>
                  <a:cubicBezTo>
                    <a:pt x="614344" y="16474"/>
                    <a:pt x="606510" y="31364"/>
                    <a:pt x="595903" y="44196"/>
                  </a:cubicBezTo>
                  <a:lnTo>
                    <a:pt x="587521" y="56084"/>
                  </a:lnTo>
                  <a:cubicBezTo>
                    <a:pt x="585357" y="59406"/>
                    <a:pt x="583772" y="63063"/>
                    <a:pt x="582797" y="66904"/>
                  </a:cubicBezTo>
                  <a:cubicBezTo>
                    <a:pt x="581348" y="71857"/>
                    <a:pt x="580694" y="76993"/>
                    <a:pt x="580816" y="82144"/>
                  </a:cubicBezTo>
                  <a:cubicBezTo>
                    <a:pt x="580450" y="86152"/>
                    <a:pt x="580450" y="90175"/>
                    <a:pt x="580816" y="94184"/>
                  </a:cubicBezTo>
                  <a:cubicBezTo>
                    <a:pt x="581334" y="97490"/>
                    <a:pt x="582415" y="100691"/>
                    <a:pt x="584015" y="103632"/>
                  </a:cubicBezTo>
                  <a:cubicBezTo>
                    <a:pt x="585265" y="106269"/>
                    <a:pt x="586683" y="108814"/>
                    <a:pt x="588283" y="111252"/>
                  </a:cubicBezTo>
                  <a:lnTo>
                    <a:pt x="595141" y="120396"/>
                  </a:lnTo>
                  <a:cubicBezTo>
                    <a:pt x="630117" y="160813"/>
                    <a:pt x="630117" y="220797"/>
                    <a:pt x="595141" y="261214"/>
                  </a:cubicBezTo>
                  <a:lnTo>
                    <a:pt x="586759" y="273101"/>
                  </a:lnTo>
                  <a:cubicBezTo>
                    <a:pt x="584595" y="276423"/>
                    <a:pt x="583010" y="280081"/>
                    <a:pt x="582035" y="283921"/>
                  </a:cubicBezTo>
                  <a:cubicBezTo>
                    <a:pt x="580587" y="288859"/>
                    <a:pt x="579916" y="294010"/>
                    <a:pt x="580054" y="299161"/>
                  </a:cubicBezTo>
                  <a:cubicBezTo>
                    <a:pt x="579763" y="305959"/>
                    <a:pt x="580846" y="312755"/>
                    <a:pt x="583253" y="319126"/>
                  </a:cubicBezTo>
                  <a:cubicBezTo>
                    <a:pt x="586469" y="325679"/>
                    <a:pt x="590462" y="331821"/>
                    <a:pt x="595141" y="337414"/>
                  </a:cubicBezTo>
                  <a:cubicBezTo>
                    <a:pt x="611524" y="357104"/>
                    <a:pt x="620775" y="381762"/>
                    <a:pt x="621353" y="407365"/>
                  </a:cubicBezTo>
                  <a:cubicBezTo>
                    <a:pt x="620835" y="433258"/>
                    <a:pt x="611601" y="458237"/>
                    <a:pt x="595141" y="478231"/>
                  </a:cubicBezTo>
                  <a:cubicBezTo>
                    <a:pt x="591331" y="483413"/>
                    <a:pt x="588588" y="487375"/>
                    <a:pt x="586759" y="490119"/>
                  </a:cubicBezTo>
                  <a:cubicBezTo>
                    <a:pt x="584595" y="493380"/>
                    <a:pt x="582995" y="496992"/>
                    <a:pt x="582035" y="500787"/>
                  </a:cubicBezTo>
                  <a:cubicBezTo>
                    <a:pt x="580602" y="505739"/>
                    <a:pt x="579947" y="510875"/>
                    <a:pt x="580054" y="516027"/>
                  </a:cubicBezTo>
                  <a:cubicBezTo>
                    <a:pt x="579749" y="522778"/>
                    <a:pt x="580830" y="529529"/>
                    <a:pt x="583253" y="535839"/>
                  </a:cubicBezTo>
                  <a:cubicBezTo>
                    <a:pt x="586409" y="542422"/>
                    <a:pt x="590401" y="548579"/>
                    <a:pt x="595141" y="554127"/>
                  </a:cubicBezTo>
                  <a:cubicBezTo>
                    <a:pt x="605397" y="566913"/>
                    <a:pt x="613201" y="581482"/>
                    <a:pt x="618154" y="597104"/>
                  </a:cubicBezTo>
                  <a:lnTo>
                    <a:pt x="560089" y="597104"/>
                  </a:lnTo>
                  <a:cubicBezTo>
                    <a:pt x="557970" y="593522"/>
                    <a:pt x="555578" y="590093"/>
                    <a:pt x="552926" y="586893"/>
                  </a:cubicBezTo>
                  <a:cubicBezTo>
                    <a:pt x="536467" y="566898"/>
                    <a:pt x="527232" y="541920"/>
                    <a:pt x="526714" y="516027"/>
                  </a:cubicBezTo>
                  <a:cubicBezTo>
                    <a:pt x="527292" y="490424"/>
                    <a:pt x="536543" y="465765"/>
                    <a:pt x="552926" y="446075"/>
                  </a:cubicBezTo>
                  <a:lnTo>
                    <a:pt x="561308" y="434035"/>
                  </a:lnTo>
                  <a:cubicBezTo>
                    <a:pt x="563411" y="430744"/>
                    <a:pt x="564996" y="427147"/>
                    <a:pt x="566032" y="423367"/>
                  </a:cubicBezTo>
                  <a:cubicBezTo>
                    <a:pt x="568700" y="413385"/>
                    <a:pt x="568700" y="402869"/>
                    <a:pt x="566032" y="392887"/>
                  </a:cubicBezTo>
                  <a:cubicBezTo>
                    <a:pt x="564996" y="389108"/>
                    <a:pt x="563411" y="385511"/>
                    <a:pt x="561308" y="382220"/>
                  </a:cubicBezTo>
                  <a:cubicBezTo>
                    <a:pt x="559327" y="379629"/>
                    <a:pt x="556583" y="375666"/>
                    <a:pt x="552926" y="370332"/>
                  </a:cubicBezTo>
                  <a:cubicBezTo>
                    <a:pt x="536467" y="350337"/>
                    <a:pt x="527232" y="325359"/>
                    <a:pt x="526714" y="299466"/>
                  </a:cubicBezTo>
                  <a:cubicBezTo>
                    <a:pt x="527323" y="273863"/>
                    <a:pt x="536559" y="249220"/>
                    <a:pt x="552926" y="229514"/>
                  </a:cubicBezTo>
                  <a:cubicBezTo>
                    <a:pt x="556583" y="224181"/>
                    <a:pt x="559327" y="220218"/>
                    <a:pt x="561308" y="217627"/>
                  </a:cubicBezTo>
                  <a:cubicBezTo>
                    <a:pt x="563411" y="214274"/>
                    <a:pt x="564996" y="210632"/>
                    <a:pt x="566032" y="206807"/>
                  </a:cubicBezTo>
                  <a:cubicBezTo>
                    <a:pt x="567435" y="201854"/>
                    <a:pt x="568106" y="196718"/>
                    <a:pt x="568013" y="191567"/>
                  </a:cubicBezTo>
                  <a:cubicBezTo>
                    <a:pt x="568273" y="185059"/>
                    <a:pt x="567191" y="178583"/>
                    <a:pt x="564814" y="172517"/>
                  </a:cubicBezTo>
                  <a:cubicBezTo>
                    <a:pt x="561537" y="166009"/>
                    <a:pt x="557543" y="159868"/>
                    <a:pt x="552926" y="154229"/>
                  </a:cubicBezTo>
                  <a:cubicBezTo>
                    <a:pt x="517950" y="113813"/>
                    <a:pt x="517950" y="53828"/>
                    <a:pt x="552926" y="13411"/>
                  </a:cubicBezTo>
                  <a:cubicBezTo>
                    <a:pt x="556583" y="8077"/>
                    <a:pt x="559327" y="4420"/>
                    <a:pt x="560851" y="2286"/>
                  </a:cubicBezTo>
                  <a:close/>
                </a:path>
              </a:pathLst>
            </a:custGeom>
            <a:solidFill>
              <a:srgbClr val="8FCAE7"/>
            </a:solidFill>
            <a:ln w="15240" cap="flat">
              <a:noFill/>
              <a:prstDash val="solid"/>
              <a:miter/>
            </a:ln>
          </p:spPr>
          <p:txBody>
            <a:bodyPr rtlCol="0" anchor="ctr"/>
            <a:lstStyle/>
            <a:p>
              <a:endParaRPr lang="nl-NL"/>
            </a:p>
          </p:txBody>
        </p:sp>
        <p:sp>
          <p:nvSpPr>
            <p:cNvPr id="25" name="Vrije vorm: vorm 24">
              <a:extLst>
                <a:ext uri="{FF2B5EF4-FFF2-40B4-BE49-F238E27FC236}">
                  <a16:creationId xmlns:a16="http://schemas.microsoft.com/office/drawing/2014/main" id="{205C6B97-F170-4147-BC2F-ED4905D02406}"/>
                </a:ext>
              </a:extLst>
            </p:cNvPr>
            <p:cNvSpPr/>
            <p:nvPr/>
          </p:nvSpPr>
          <p:spPr>
            <a:xfrm>
              <a:off x="10180290" y="4944454"/>
              <a:ext cx="621994" cy="594980"/>
            </a:xfrm>
            <a:custGeom>
              <a:avLst/>
              <a:gdLst>
                <a:gd name="connsiteX0" fmla="*/ 16184 w 621994"/>
                <a:gd name="connsiteY0" fmla="*/ 16623 h 594980"/>
                <a:gd name="connsiteX1" fmla="*/ 92689 w 621994"/>
                <a:gd name="connsiteY1" fmla="*/ 16623 h 594980"/>
                <a:gd name="connsiteX2" fmla="*/ 108538 w 621994"/>
                <a:gd name="connsiteY2" fmla="*/ 54875 h 594980"/>
                <a:gd name="connsiteX3" fmla="*/ 30 w 621994"/>
                <a:gd name="connsiteY3" fmla="*/ 54875 h 594980"/>
                <a:gd name="connsiteX4" fmla="*/ 16184 w 621994"/>
                <a:gd name="connsiteY4" fmla="*/ 16623 h 594980"/>
                <a:gd name="connsiteX5" fmla="*/ 16184 w 621994"/>
                <a:gd name="connsiteY5" fmla="*/ 124827 h 594980"/>
                <a:gd name="connsiteX6" fmla="*/ 92689 w 621994"/>
                <a:gd name="connsiteY6" fmla="*/ 124827 h 594980"/>
                <a:gd name="connsiteX7" fmla="*/ 108538 w 621994"/>
                <a:gd name="connsiteY7" fmla="*/ 163079 h 594980"/>
                <a:gd name="connsiteX8" fmla="*/ 30 w 621994"/>
                <a:gd name="connsiteY8" fmla="*/ 163079 h 594980"/>
                <a:gd name="connsiteX9" fmla="*/ 16184 w 621994"/>
                <a:gd name="connsiteY9" fmla="*/ 124827 h 594980"/>
                <a:gd name="connsiteX10" fmla="*/ 16184 w 621994"/>
                <a:gd name="connsiteY10" fmla="*/ 233031 h 594980"/>
                <a:gd name="connsiteX11" fmla="*/ 92689 w 621994"/>
                <a:gd name="connsiteY11" fmla="*/ 233031 h 594980"/>
                <a:gd name="connsiteX12" fmla="*/ 108538 w 621994"/>
                <a:gd name="connsiteY12" fmla="*/ 271283 h 594980"/>
                <a:gd name="connsiteX13" fmla="*/ 30 w 621994"/>
                <a:gd name="connsiteY13" fmla="*/ 271283 h 594980"/>
                <a:gd name="connsiteX14" fmla="*/ 16184 w 621994"/>
                <a:gd name="connsiteY14" fmla="*/ 233031 h 594980"/>
                <a:gd name="connsiteX15" fmla="*/ 16184 w 621994"/>
                <a:gd name="connsiteY15" fmla="*/ 341234 h 594980"/>
                <a:gd name="connsiteX16" fmla="*/ 92384 w 621994"/>
                <a:gd name="connsiteY16" fmla="*/ 341234 h 594980"/>
                <a:gd name="connsiteX17" fmla="*/ 107624 w 621994"/>
                <a:gd name="connsiteY17" fmla="*/ 379487 h 594980"/>
                <a:gd name="connsiteX18" fmla="*/ 30 w 621994"/>
                <a:gd name="connsiteY18" fmla="*/ 379487 h 594980"/>
                <a:gd name="connsiteX19" fmla="*/ 16184 w 621994"/>
                <a:gd name="connsiteY19" fmla="*/ 341234 h 594980"/>
                <a:gd name="connsiteX20" fmla="*/ 54437 w 621994"/>
                <a:gd name="connsiteY20" fmla="*/ 433437 h 594980"/>
                <a:gd name="connsiteX21" fmla="*/ 75163 w 621994"/>
                <a:gd name="connsiteY21" fmla="*/ 437551 h 594980"/>
                <a:gd name="connsiteX22" fmla="*/ 92689 w 621994"/>
                <a:gd name="connsiteY22" fmla="*/ 449439 h 594980"/>
                <a:gd name="connsiteX23" fmla="*/ 103814 w 621994"/>
                <a:gd name="connsiteY23" fmla="*/ 466203 h 594980"/>
                <a:gd name="connsiteX24" fmla="*/ 108538 w 621994"/>
                <a:gd name="connsiteY24" fmla="*/ 487539 h 594980"/>
                <a:gd name="connsiteX25" fmla="*/ 30 w 621994"/>
                <a:gd name="connsiteY25" fmla="*/ 487539 h 594980"/>
                <a:gd name="connsiteX26" fmla="*/ 54132 w 621994"/>
                <a:gd name="connsiteY26" fmla="*/ 433437 h 594980"/>
                <a:gd name="connsiteX27" fmla="*/ 54437 w 621994"/>
                <a:gd name="connsiteY27" fmla="*/ 541641 h 594980"/>
                <a:gd name="connsiteX28" fmla="*/ 92689 w 621994"/>
                <a:gd name="connsiteY28" fmla="*/ 556881 h 594980"/>
                <a:gd name="connsiteX29" fmla="*/ 107929 w 621994"/>
                <a:gd name="connsiteY29" fmla="*/ 594981 h 594980"/>
                <a:gd name="connsiteX30" fmla="*/ 30 w 621994"/>
                <a:gd name="connsiteY30" fmla="*/ 594981 h 594980"/>
                <a:gd name="connsiteX31" fmla="*/ 15270 w 621994"/>
                <a:gd name="connsiteY31" fmla="*/ 556424 h 594980"/>
                <a:gd name="connsiteX32" fmla="*/ 54437 w 621994"/>
                <a:gd name="connsiteY32" fmla="*/ 541945 h 594980"/>
                <a:gd name="connsiteX33" fmla="*/ 182910 w 621994"/>
                <a:gd name="connsiteY33" fmla="*/ 773 h 594980"/>
                <a:gd name="connsiteX34" fmla="*/ 236859 w 621994"/>
                <a:gd name="connsiteY34" fmla="*/ 54875 h 594980"/>
                <a:gd name="connsiteX35" fmla="*/ 128808 w 621994"/>
                <a:gd name="connsiteY35" fmla="*/ 54875 h 594980"/>
                <a:gd name="connsiteX36" fmla="*/ 144048 w 621994"/>
                <a:gd name="connsiteY36" fmla="*/ 16623 h 594980"/>
                <a:gd name="connsiteX37" fmla="*/ 182910 w 621994"/>
                <a:gd name="connsiteY37" fmla="*/ 773 h 594980"/>
                <a:gd name="connsiteX38" fmla="*/ 182910 w 621994"/>
                <a:gd name="connsiteY38" fmla="*/ 108977 h 594980"/>
                <a:gd name="connsiteX39" fmla="*/ 236859 w 621994"/>
                <a:gd name="connsiteY39" fmla="*/ 163079 h 594980"/>
                <a:gd name="connsiteX40" fmla="*/ 128808 w 621994"/>
                <a:gd name="connsiteY40" fmla="*/ 163079 h 594980"/>
                <a:gd name="connsiteX41" fmla="*/ 144048 w 621994"/>
                <a:gd name="connsiteY41" fmla="*/ 124827 h 594980"/>
                <a:gd name="connsiteX42" fmla="*/ 182910 w 621994"/>
                <a:gd name="connsiteY42" fmla="*/ 108977 h 594980"/>
                <a:gd name="connsiteX43" fmla="*/ 182910 w 621994"/>
                <a:gd name="connsiteY43" fmla="*/ 217181 h 594980"/>
                <a:gd name="connsiteX44" fmla="*/ 236859 w 621994"/>
                <a:gd name="connsiteY44" fmla="*/ 271283 h 594980"/>
                <a:gd name="connsiteX45" fmla="*/ 128808 w 621994"/>
                <a:gd name="connsiteY45" fmla="*/ 271283 h 594980"/>
                <a:gd name="connsiteX46" fmla="*/ 144048 w 621994"/>
                <a:gd name="connsiteY46" fmla="*/ 233031 h 594980"/>
                <a:gd name="connsiteX47" fmla="*/ 182910 w 621994"/>
                <a:gd name="connsiteY47" fmla="*/ 217181 h 594980"/>
                <a:gd name="connsiteX48" fmla="*/ 182910 w 621994"/>
                <a:gd name="connsiteY48" fmla="*/ 325385 h 594980"/>
                <a:gd name="connsiteX49" fmla="*/ 236859 w 621994"/>
                <a:gd name="connsiteY49" fmla="*/ 379487 h 594980"/>
                <a:gd name="connsiteX50" fmla="*/ 128808 w 621994"/>
                <a:gd name="connsiteY50" fmla="*/ 379487 h 594980"/>
                <a:gd name="connsiteX51" fmla="*/ 144048 w 621994"/>
                <a:gd name="connsiteY51" fmla="*/ 341234 h 594980"/>
                <a:gd name="connsiteX52" fmla="*/ 182910 w 621994"/>
                <a:gd name="connsiteY52" fmla="*/ 325385 h 594980"/>
                <a:gd name="connsiteX53" fmla="*/ 182910 w 621994"/>
                <a:gd name="connsiteY53" fmla="*/ 433437 h 594980"/>
                <a:gd name="connsiteX54" fmla="*/ 203483 w 621994"/>
                <a:gd name="connsiteY54" fmla="*/ 437551 h 594980"/>
                <a:gd name="connsiteX55" fmla="*/ 220248 w 621994"/>
                <a:gd name="connsiteY55" fmla="*/ 449439 h 594980"/>
                <a:gd name="connsiteX56" fmla="*/ 236859 w 621994"/>
                <a:gd name="connsiteY56" fmla="*/ 487539 h 594980"/>
                <a:gd name="connsiteX57" fmla="*/ 128808 w 621994"/>
                <a:gd name="connsiteY57" fmla="*/ 487539 h 594980"/>
                <a:gd name="connsiteX58" fmla="*/ 144048 w 621994"/>
                <a:gd name="connsiteY58" fmla="*/ 449439 h 594980"/>
                <a:gd name="connsiteX59" fmla="*/ 182910 w 621994"/>
                <a:gd name="connsiteY59" fmla="*/ 433437 h 594980"/>
                <a:gd name="connsiteX60" fmla="*/ 182910 w 621994"/>
                <a:gd name="connsiteY60" fmla="*/ 541641 h 594980"/>
                <a:gd name="connsiteX61" fmla="*/ 221010 w 621994"/>
                <a:gd name="connsiteY61" fmla="*/ 556881 h 594980"/>
                <a:gd name="connsiteX62" fmla="*/ 236250 w 621994"/>
                <a:gd name="connsiteY62" fmla="*/ 594981 h 594980"/>
                <a:gd name="connsiteX63" fmla="*/ 128198 w 621994"/>
                <a:gd name="connsiteY63" fmla="*/ 594981 h 594980"/>
                <a:gd name="connsiteX64" fmla="*/ 180898 w 621994"/>
                <a:gd name="connsiteY64" fmla="*/ 541915 h 594980"/>
                <a:gd name="connsiteX65" fmla="*/ 182910 w 621994"/>
                <a:gd name="connsiteY65" fmla="*/ 541945 h 594980"/>
                <a:gd name="connsiteX66" fmla="*/ 272674 w 621994"/>
                <a:gd name="connsiteY66" fmla="*/ 16623 h 594980"/>
                <a:gd name="connsiteX67" fmla="*/ 349163 w 621994"/>
                <a:gd name="connsiteY67" fmla="*/ 15083 h 594980"/>
                <a:gd name="connsiteX68" fmla="*/ 365790 w 621994"/>
                <a:gd name="connsiteY68" fmla="*/ 54265 h 594980"/>
                <a:gd name="connsiteX69" fmla="*/ 257586 w 621994"/>
                <a:gd name="connsiteY69" fmla="*/ 54265 h 594980"/>
                <a:gd name="connsiteX70" fmla="*/ 273130 w 621994"/>
                <a:gd name="connsiteY70" fmla="*/ 16623 h 594980"/>
                <a:gd name="connsiteX71" fmla="*/ 272674 w 621994"/>
                <a:gd name="connsiteY71" fmla="*/ 124827 h 594980"/>
                <a:gd name="connsiteX72" fmla="*/ 349178 w 621994"/>
                <a:gd name="connsiteY72" fmla="*/ 124827 h 594980"/>
                <a:gd name="connsiteX73" fmla="*/ 365028 w 621994"/>
                <a:gd name="connsiteY73" fmla="*/ 163079 h 594980"/>
                <a:gd name="connsiteX74" fmla="*/ 256823 w 621994"/>
                <a:gd name="connsiteY74" fmla="*/ 163079 h 594980"/>
                <a:gd name="connsiteX75" fmla="*/ 273130 w 621994"/>
                <a:gd name="connsiteY75" fmla="*/ 124827 h 594980"/>
                <a:gd name="connsiteX76" fmla="*/ 272674 w 621994"/>
                <a:gd name="connsiteY76" fmla="*/ 233031 h 594980"/>
                <a:gd name="connsiteX77" fmla="*/ 349178 w 621994"/>
                <a:gd name="connsiteY77" fmla="*/ 233031 h 594980"/>
                <a:gd name="connsiteX78" fmla="*/ 365028 w 621994"/>
                <a:gd name="connsiteY78" fmla="*/ 271283 h 594980"/>
                <a:gd name="connsiteX79" fmla="*/ 256823 w 621994"/>
                <a:gd name="connsiteY79" fmla="*/ 271283 h 594980"/>
                <a:gd name="connsiteX80" fmla="*/ 273130 w 621994"/>
                <a:gd name="connsiteY80" fmla="*/ 233031 h 594980"/>
                <a:gd name="connsiteX81" fmla="*/ 272674 w 621994"/>
                <a:gd name="connsiteY81" fmla="*/ 341234 h 594980"/>
                <a:gd name="connsiteX82" fmla="*/ 349178 w 621994"/>
                <a:gd name="connsiteY82" fmla="*/ 341234 h 594980"/>
                <a:gd name="connsiteX83" fmla="*/ 365028 w 621994"/>
                <a:gd name="connsiteY83" fmla="*/ 379487 h 594980"/>
                <a:gd name="connsiteX84" fmla="*/ 256823 w 621994"/>
                <a:gd name="connsiteY84" fmla="*/ 379487 h 594980"/>
                <a:gd name="connsiteX85" fmla="*/ 273130 w 621994"/>
                <a:gd name="connsiteY85" fmla="*/ 341234 h 594980"/>
                <a:gd name="connsiteX86" fmla="*/ 310926 w 621994"/>
                <a:gd name="connsiteY86" fmla="*/ 433437 h 594980"/>
                <a:gd name="connsiteX87" fmla="*/ 331652 w 621994"/>
                <a:gd name="connsiteY87" fmla="*/ 437551 h 594980"/>
                <a:gd name="connsiteX88" fmla="*/ 349178 w 621994"/>
                <a:gd name="connsiteY88" fmla="*/ 449439 h 594980"/>
                <a:gd name="connsiteX89" fmla="*/ 361065 w 621994"/>
                <a:gd name="connsiteY89" fmla="*/ 466203 h 594980"/>
                <a:gd name="connsiteX90" fmla="*/ 365028 w 621994"/>
                <a:gd name="connsiteY90" fmla="*/ 487539 h 594980"/>
                <a:gd name="connsiteX91" fmla="*/ 256823 w 621994"/>
                <a:gd name="connsiteY91" fmla="*/ 487539 h 594980"/>
                <a:gd name="connsiteX92" fmla="*/ 310926 w 621994"/>
                <a:gd name="connsiteY92" fmla="*/ 433437 h 594980"/>
                <a:gd name="connsiteX93" fmla="*/ 310926 w 621994"/>
                <a:gd name="connsiteY93" fmla="*/ 541641 h 594980"/>
                <a:gd name="connsiteX94" fmla="*/ 349178 w 621994"/>
                <a:gd name="connsiteY94" fmla="*/ 556881 h 594980"/>
                <a:gd name="connsiteX95" fmla="*/ 364418 w 621994"/>
                <a:gd name="connsiteY95" fmla="*/ 592694 h 594980"/>
                <a:gd name="connsiteX96" fmla="*/ 364418 w 621994"/>
                <a:gd name="connsiteY96" fmla="*/ 594981 h 594980"/>
                <a:gd name="connsiteX97" fmla="*/ 256214 w 621994"/>
                <a:gd name="connsiteY97" fmla="*/ 594981 h 594980"/>
                <a:gd name="connsiteX98" fmla="*/ 271454 w 621994"/>
                <a:gd name="connsiteY98" fmla="*/ 556424 h 594980"/>
                <a:gd name="connsiteX99" fmla="*/ 311383 w 621994"/>
                <a:gd name="connsiteY99" fmla="*/ 541945 h 594980"/>
                <a:gd name="connsiteX100" fmla="*/ 438942 w 621994"/>
                <a:gd name="connsiteY100" fmla="*/ 773 h 594980"/>
                <a:gd name="connsiteX101" fmla="*/ 477956 w 621994"/>
                <a:gd name="connsiteY101" fmla="*/ 16013 h 594980"/>
                <a:gd name="connsiteX102" fmla="*/ 493196 w 621994"/>
                <a:gd name="connsiteY102" fmla="*/ 54265 h 594980"/>
                <a:gd name="connsiteX103" fmla="*/ 384992 w 621994"/>
                <a:gd name="connsiteY103" fmla="*/ 54265 h 594980"/>
                <a:gd name="connsiteX104" fmla="*/ 439094 w 621994"/>
                <a:gd name="connsiteY104" fmla="*/ 164 h 594980"/>
                <a:gd name="connsiteX105" fmla="*/ 438942 w 621994"/>
                <a:gd name="connsiteY105" fmla="*/ 108977 h 594980"/>
                <a:gd name="connsiteX106" fmla="*/ 477956 w 621994"/>
                <a:gd name="connsiteY106" fmla="*/ 124217 h 594980"/>
                <a:gd name="connsiteX107" fmla="*/ 493196 w 621994"/>
                <a:gd name="connsiteY107" fmla="*/ 162469 h 594980"/>
                <a:gd name="connsiteX108" fmla="*/ 384992 w 621994"/>
                <a:gd name="connsiteY108" fmla="*/ 162469 h 594980"/>
                <a:gd name="connsiteX109" fmla="*/ 439094 w 621994"/>
                <a:gd name="connsiteY109" fmla="*/ 108367 h 594980"/>
                <a:gd name="connsiteX110" fmla="*/ 438942 w 621994"/>
                <a:gd name="connsiteY110" fmla="*/ 217181 h 594980"/>
                <a:gd name="connsiteX111" fmla="*/ 477956 w 621994"/>
                <a:gd name="connsiteY111" fmla="*/ 232421 h 594980"/>
                <a:gd name="connsiteX112" fmla="*/ 493196 w 621994"/>
                <a:gd name="connsiteY112" fmla="*/ 270674 h 594980"/>
                <a:gd name="connsiteX113" fmla="*/ 384992 w 621994"/>
                <a:gd name="connsiteY113" fmla="*/ 270674 h 594980"/>
                <a:gd name="connsiteX114" fmla="*/ 439094 w 621994"/>
                <a:gd name="connsiteY114" fmla="*/ 216571 h 594980"/>
                <a:gd name="connsiteX115" fmla="*/ 438942 w 621994"/>
                <a:gd name="connsiteY115" fmla="*/ 325385 h 594980"/>
                <a:gd name="connsiteX116" fmla="*/ 477956 w 621994"/>
                <a:gd name="connsiteY116" fmla="*/ 340625 h 594980"/>
                <a:gd name="connsiteX117" fmla="*/ 493196 w 621994"/>
                <a:gd name="connsiteY117" fmla="*/ 378877 h 594980"/>
                <a:gd name="connsiteX118" fmla="*/ 384992 w 621994"/>
                <a:gd name="connsiteY118" fmla="*/ 378877 h 594980"/>
                <a:gd name="connsiteX119" fmla="*/ 439094 w 621994"/>
                <a:gd name="connsiteY119" fmla="*/ 324775 h 594980"/>
                <a:gd name="connsiteX120" fmla="*/ 438942 w 621994"/>
                <a:gd name="connsiteY120" fmla="*/ 433437 h 594980"/>
                <a:gd name="connsiteX121" fmla="*/ 460431 w 621994"/>
                <a:gd name="connsiteY121" fmla="*/ 437551 h 594980"/>
                <a:gd name="connsiteX122" fmla="*/ 477194 w 621994"/>
                <a:gd name="connsiteY122" fmla="*/ 449439 h 594980"/>
                <a:gd name="connsiteX123" fmla="*/ 489082 w 621994"/>
                <a:gd name="connsiteY123" fmla="*/ 466203 h 594980"/>
                <a:gd name="connsiteX124" fmla="*/ 493043 w 621994"/>
                <a:gd name="connsiteY124" fmla="*/ 487539 h 594980"/>
                <a:gd name="connsiteX125" fmla="*/ 384840 w 621994"/>
                <a:gd name="connsiteY125" fmla="*/ 487539 h 594980"/>
                <a:gd name="connsiteX126" fmla="*/ 438942 w 621994"/>
                <a:gd name="connsiteY126" fmla="*/ 433437 h 594980"/>
                <a:gd name="connsiteX127" fmla="*/ 438942 w 621994"/>
                <a:gd name="connsiteY127" fmla="*/ 541641 h 594980"/>
                <a:gd name="connsiteX128" fmla="*/ 477956 w 621994"/>
                <a:gd name="connsiteY128" fmla="*/ 556881 h 594980"/>
                <a:gd name="connsiteX129" fmla="*/ 493196 w 621994"/>
                <a:gd name="connsiteY129" fmla="*/ 594981 h 594980"/>
                <a:gd name="connsiteX130" fmla="*/ 384992 w 621994"/>
                <a:gd name="connsiteY130" fmla="*/ 594981 h 594980"/>
                <a:gd name="connsiteX131" fmla="*/ 400994 w 621994"/>
                <a:gd name="connsiteY131" fmla="*/ 556424 h 594980"/>
                <a:gd name="connsiteX132" fmla="*/ 439399 w 621994"/>
                <a:gd name="connsiteY132" fmla="*/ 541945 h 594980"/>
                <a:gd name="connsiteX133" fmla="*/ 529620 w 621994"/>
                <a:gd name="connsiteY133" fmla="*/ 16623 h 594980"/>
                <a:gd name="connsiteX134" fmla="*/ 606338 w 621994"/>
                <a:gd name="connsiteY134" fmla="*/ 17141 h 594980"/>
                <a:gd name="connsiteX135" fmla="*/ 621974 w 621994"/>
                <a:gd name="connsiteY135" fmla="*/ 54875 h 594980"/>
                <a:gd name="connsiteX136" fmla="*/ 513771 w 621994"/>
                <a:gd name="connsiteY136" fmla="*/ 54875 h 594980"/>
                <a:gd name="connsiteX137" fmla="*/ 530077 w 621994"/>
                <a:gd name="connsiteY137" fmla="*/ 16623 h 594980"/>
                <a:gd name="connsiteX138" fmla="*/ 529620 w 621994"/>
                <a:gd name="connsiteY138" fmla="*/ 124827 h 594980"/>
                <a:gd name="connsiteX139" fmla="*/ 606338 w 621994"/>
                <a:gd name="connsiteY139" fmla="*/ 125345 h 594980"/>
                <a:gd name="connsiteX140" fmla="*/ 621974 w 621994"/>
                <a:gd name="connsiteY140" fmla="*/ 163079 h 594980"/>
                <a:gd name="connsiteX141" fmla="*/ 513771 w 621994"/>
                <a:gd name="connsiteY141" fmla="*/ 163079 h 594980"/>
                <a:gd name="connsiteX142" fmla="*/ 530077 w 621994"/>
                <a:gd name="connsiteY142" fmla="*/ 124827 h 594980"/>
                <a:gd name="connsiteX143" fmla="*/ 567872 w 621994"/>
                <a:gd name="connsiteY143" fmla="*/ 217181 h 594980"/>
                <a:gd name="connsiteX144" fmla="*/ 621974 w 621994"/>
                <a:gd name="connsiteY144" fmla="*/ 271283 h 594980"/>
                <a:gd name="connsiteX145" fmla="*/ 513771 w 621994"/>
                <a:gd name="connsiteY145" fmla="*/ 271283 h 594980"/>
                <a:gd name="connsiteX146" fmla="*/ 520933 w 621994"/>
                <a:gd name="connsiteY146" fmla="*/ 244156 h 594980"/>
                <a:gd name="connsiteX147" fmla="*/ 540745 w 621994"/>
                <a:gd name="connsiteY147" fmla="*/ 224344 h 594980"/>
                <a:gd name="connsiteX148" fmla="*/ 568329 w 621994"/>
                <a:gd name="connsiteY148" fmla="*/ 217181 h 594980"/>
                <a:gd name="connsiteX149" fmla="*/ 529620 w 621994"/>
                <a:gd name="connsiteY149" fmla="*/ 341234 h 594980"/>
                <a:gd name="connsiteX150" fmla="*/ 606338 w 621994"/>
                <a:gd name="connsiteY150" fmla="*/ 341753 h 594980"/>
                <a:gd name="connsiteX151" fmla="*/ 621974 w 621994"/>
                <a:gd name="connsiteY151" fmla="*/ 379487 h 594980"/>
                <a:gd name="connsiteX152" fmla="*/ 513771 w 621994"/>
                <a:gd name="connsiteY152" fmla="*/ 379487 h 594980"/>
                <a:gd name="connsiteX153" fmla="*/ 530077 w 621994"/>
                <a:gd name="connsiteY153" fmla="*/ 341234 h 594980"/>
                <a:gd name="connsiteX154" fmla="*/ 567872 w 621994"/>
                <a:gd name="connsiteY154" fmla="*/ 433437 h 594980"/>
                <a:gd name="connsiteX155" fmla="*/ 588599 w 621994"/>
                <a:gd name="connsiteY155" fmla="*/ 437551 h 594980"/>
                <a:gd name="connsiteX156" fmla="*/ 605972 w 621994"/>
                <a:gd name="connsiteY156" fmla="*/ 449439 h 594980"/>
                <a:gd name="connsiteX157" fmla="*/ 617250 w 621994"/>
                <a:gd name="connsiteY157" fmla="*/ 466203 h 594980"/>
                <a:gd name="connsiteX158" fmla="*/ 621974 w 621994"/>
                <a:gd name="connsiteY158" fmla="*/ 487539 h 594980"/>
                <a:gd name="connsiteX159" fmla="*/ 513771 w 621994"/>
                <a:gd name="connsiteY159" fmla="*/ 487539 h 594980"/>
                <a:gd name="connsiteX160" fmla="*/ 520933 w 621994"/>
                <a:gd name="connsiteY160" fmla="*/ 459802 h 594980"/>
                <a:gd name="connsiteX161" fmla="*/ 540745 w 621994"/>
                <a:gd name="connsiteY161" fmla="*/ 440600 h 594980"/>
                <a:gd name="connsiteX162" fmla="*/ 568329 w 621994"/>
                <a:gd name="connsiteY162" fmla="*/ 433437 h 594980"/>
                <a:gd name="connsiteX163" fmla="*/ 567872 w 621994"/>
                <a:gd name="connsiteY163" fmla="*/ 541641 h 594980"/>
                <a:gd name="connsiteX164" fmla="*/ 605972 w 621994"/>
                <a:gd name="connsiteY164" fmla="*/ 556881 h 594980"/>
                <a:gd name="connsiteX165" fmla="*/ 621974 w 621994"/>
                <a:gd name="connsiteY165" fmla="*/ 594981 h 594980"/>
                <a:gd name="connsiteX166" fmla="*/ 513771 w 621994"/>
                <a:gd name="connsiteY166" fmla="*/ 594981 h 594980"/>
                <a:gd name="connsiteX167" fmla="*/ 529011 w 621994"/>
                <a:gd name="connsiteY167" fmla="*/ 556424 h 594980"/>
                <a:gd name="connsiteX168" fmla="*/ 568329 w 621994"/>
                <a:gd name="connsiteY168" fmla="*/ 541945 h 59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21994" h="594980">
                  <a:moveTo>
                    <a:pt x="16184" y="16623"/>
                  </a:moveTo>
                  <a:cubicBezTo>
                    <a:pt x="37307" y="-4500"/>
                    <a:pt x="71566" y="-4500"/>
                    <a:pt x="92689" y="16623"/>
                  </a:cubicBezTo>
                  <a:cubicBezTo>
                    <a:pt x="102838" y="26773"/>
                    <a:pt x="108538" y="40534"/>
                    <a:pt x="108538" y="54875"/>
                  </a:cubicBezTo>
                  <a:lnTo>
                    <a:pt x="30" y="54875"/>
                  </a:lnTo>
                  <a:cubicBezTo>
                    <a:pt x="-77" y="40442"/>
                    <a:pt x="5760" y="26605"/>
                    <a:pt x="16184" y="16623"/>
                  </a:cubicBezTo>
                  <a:close/>
                  <a:moveTo>
                    <a:pt x="16184" y="124827"/>
                  </a:moveTo>
                  <a:cubicBezTo>
                    <a:pt x="37307" y="103704"/>
                    <a:pt x="71566" y="103704"/>
                    <a:pt x="92689" y="124827"/>
                  </a:cubicBezTo>
                  <a:cubicBezTo>
                    <a:pt x="102838" y="134976"/>
                    <a:pt x="108538" y="148738"/>
                    <a:pt x="108538" y="163079"/>
                  </a:cubicBezTo>
                  <a:lnTo>
                    <a:pt x="30" y="163079"/>
                  </a:lnTo>
                  <a:cubicBezTo>
                    <a:pt x="-77" y="148647"/>
                    <a:pt x="5760" y="134809"/>
                    <a:pt x="16184" y="124827"/>
                  </a:cubicBezTo>
                  <a:close/>
                  <a:moveTo>
                    <a:pt x="16184" y="233031"/>
                  </a:moveTo>
                  <a:cubicBezTo>
                    <a:pt x="37307" y="211908"/>
                    <a:pt x="71566" y="211908"/>
                    <a:pt x="92689" y="233031"/>
                  </a:cubicBezTo>
                  <a:cubicBezTo>
                    <a:pt x="102838" y="243180"/>
                    <a:pt x="108538" y="256942"/>
                    <a:pt x="108538" y="271283"/>
                  </a:cubicBezTo>
                  <a:lnTo>
                    <a:pt x="30" y="271283"/>
                  </a:lnTo>
                  <a:cubicBezTo>
                    <a:pt x="-77" y="256851"/>
                    <a:pt x="5760" y="243013"/>
                    <a:pt x="16184" y="233031"/>
                  </a:cubicBezTo>
                  <a:close/>
                  <a:moveTo>
                    <a:pt x="16184" y="341234"/>
                  </a:moveTo>
                  <a:cubicBezTo>
                    <a:pt x="37276" y="320310"/>
                    <a:pt x="71292" y="320310"/>
                    <a:pt x="92384" y="341234"/>
                  </a:cubicBezTo>
                  <a:cubicBezTo>
                    <a:pt x="102473" y="351369"/>
                    <a:pt x="107975" y="365192"/>
                    <a:pt x="107624" y="379487"/>
                  </a:cubicBezTo>
                  <a:lnTo>
                    <a:pt x="30" y="379487"/>
                  </a:lnTo>
                  <a:cubicBezTo>
                    <a:pt x="-77" y="365055"/>
                    <a:pt x="5760" y="351217"/>
                    <a:pt x="16184" y="341234"/>
                  </a:cubicBezTo>
                  <a:close/>
                  <a:moveTo>
                    <a:pt x="54437" y="433437"/>
                  </a:moveTo>
                  <a:cubicBezTo>
                    <a:pt x="61569" y="433284"/>
                    <a:pt x="68640" y="434686"/>
                    <a:pt x="75163" y="437551"/>
                  </a:cubicBezTo>
                  <a:cubicBezTo>
                    <a:pt x="81655" y="440462"/>
                    <a:pt x="87583" y="444486"/>
                    <a:pt x="92689" y="449439"/>
                  </a:cubicBezTo>
                  <a:cubicBezTo>
                    <a:pt x="97322" y="454361"/>
                    <a:pt x="101086" y="460030"/>
                    <a:pt x="103814" y="466203"/>
                  </a:cubicBezTo>
                  <a:cubicBezTo>
                    <a:pt x="106939" y="472878"/>
                    <a:pt x="108553" y="480163"/>
                    <a:pt x="108538" y="487539"/>
                  </a:cubicBezTo>
                  <a:lnTo>
                    <a:pt x="30" y="487539"/>
                  </a:lnTo>
                  <a:cubicBezTo>
                    <a:pt x="197" y="457729"/>
                    <a:pt x="24322" y="433604"/>
                    <a:pt x="54132" y="433437"/>
                  </a:cubicBezTo>
                  <a:close/>
                  <a:moveTo>
                    <a:pt x="54437" y="541641"/>
                  </a:moveTo>
                  <a:cubicBezTo>
                    <a:pt x="68701" y="541473"/>
                    <a:pt x="82448" y="546960"/>
                    <a:pt x="92689" y="556881"/>
                  </a:cubicBezTo>
                  <a:cubicBezTo>
                    <a:pt x="102945" y="566848"/>
                    <a:pt x="108478" y="580701"/>
                    <a:pt x="107929" y="594981"/>
                  </a:cubicBezTo>
                  <a:lnTo>
                    <a:pt x="30" y="594981"/>
                  </a:lnTo>
                  <a:cubicBezTo>
                    <a:pt x="-458" y="580564"/>
                    <a:pt x="5059" y="566604"/>
                    <a:pt x="15270" y="556424"/>
                  </a:cubicBezTo>
                  <a:cubicBezTo>
                    <a:pt x="25785" y="546426"/>
                    <a:pt x="39944" y="541199"/>
                    <a:pt x="54437" y="541945"/>
                  </a:cubicBezTo>
                  <a:close/>
                  <a:moveTo>
                    <a:pt x="182910" y="773"/>
                  </a:moveTo>
                  <a:cubicBezTo>
                    <a:pt x="212734" y="864"/>
                    <a:pt x="236859" y="25050"/>
                    <a:pt x="236859" y="54875"/>
                  </a:cubicBezTo>
                  <a:lnTo>
                    <a:pt x="128808" y="54875"/>
                  </a:lnTo>
                  <a:cubicBezTo>
                    <a:pt x="128564" y="40595"/>
                    <a:pt x="134050" y="26818"/>
                    <a:pt x="144048" y="16623"/>
                  </a:cubicBezTo>
                  <a:cubicBezTo>
                    <a:pt x="154213" y="6138"/>
                    <a:pt x="168310" y="392"/>
                    <a:pt x="182910" y="773"/>
                  </a:cubicBezTo>
                  <a:close/>
                  <a:moveTo>
                    <a:pt x="182910" y="108977"/>
                  </a:moveTo>
                  <a:cubicBezTo>
                    <a:pt x="212734" y="109069"/>
                    <a:pt x="236859" y="133255"/>
                    <a:pt x="236859" y="163079"/>
                  </a:cubicBezTo>
                  <a:lnTo>
                    <a:pt x="128808" y="163079"/>
                  </a:lnTo>
                  <a:cubicBezTo>
                    <a:pt x="128564" y="148799"/>
                    <a:pt x="134050" y="135022"/>
                    <a:pt x="144048" y="124827"/>
                  </a:cubicBezTo>
                  <a:cubicBezTo>
                    <a:pt x="154213" y="114341"/>
                    <a:pt x="168310" y="108596"/>
                    <a:pt x="182910" y="108977"/>
                  </a:cubicBezTo>
                  <a:close/>
                  <a:moveTo>
                    <a:pt x="182910" y="217181"/>
                  </a:moveTo>
                  <a:cubicBezTo>
                    <a:pt x="212734" y="217273"/>
                    <a:pt x="236859" y="241458"/>
                    <a:pt x="236859" y="271283"/>
                  </a:cubicBezTo>
                  <a:lnTo>
                    <a:pt x="128808" y="271283"/>
                  </a:lnTo>
                  <a:cubicBezTo>
                    <a:pt x="128564" y="257003"/>
                    <a:pt x="134050" y="243226"/>
                    <a:pt x="144048" y="233031"/>
                  </a:cubicBezTo>
                  <a:cubicBezTo>
                    <a:pt x="154213" y="222545"/>
                    <a:pt x="168310" y="216800"/>
                    <a:pt x="182910" y="217181"/>
                  </a:cubicBezTo>
                  <a:close/>
                  <a:moveTo>
                    <a:pt x="182910" y="325385"/>
                  </a:moveTo>
                  <a:cubicBezTo>
                    <a:pt x="212734" y="325476"/>
                    <a:pt x="236859" y="349662"/>
                    <a:pt x="236859" y="379487"/>
                  </a:cubicBezTo>
                  <a:lnTo>
                    <a:pt x="128808" y="379487"/>
                  </a:lnTo>
                  <a:cubicBezTo>
                    <a:pt x="128564" y="365207"/>
                    <a:pt x="134050" y="351430"/>
                    <a:pt x="144048" y="341234"/>
                  </a:cubicBezTo>
                  <a:cubicBezTo>
                    <a:pt x="154182" y="330689"/>
                    <a:pt x="168295" y="324928"/>
                    <a:pt x="182910" y="325385"/>
                  </a:cubicBezTo>
                  <a:close/>
                  <a:moveTo>
                    <a:pt x="182910" y="433437"/>
                  </a:moveTo>
                  <a:cubicBezTo>
                    <a:pt x="189997" y="433193"/>
                    <a:pt x="197037" y="434610"/>
                    <a:pt x="203483" y="437551"/>
                  </a:cubicBezTo>
                  <a:cubicBezTo>
                    <a:pt x="209610" y="440691"/>
                    <a:pt x="215264" y="444684"/>
                    <a:pt x="220248" y="449439"/>
                  </a:cubicBezTo>
                  <a:cubicBezTo>
                    <a:pt x="230687" y="459375"/>
                    <a:pt x="236677" y="473122"/>
                    <a:pt x="236859" y="487539"/>
                  </a:cubicBezTo>
                  <a:lnTo>
                    <a:pt x="128808" y="487539"/>
                  </a:lnTo>
                  <a:cubicBezTo>
                    <a:pt x="128594" y="473305"/>
                    <a:pt x="134081" y="459589"/>
                    <a:pt x="144048" y="449439"/>
                  </a:cubicBezTo>
                  <a:cubicBezTo>
                    <a:pt x="154167" y="438862"/>
                    <a:pt x="168279" y="433040"/>
                    <a:pt x="182910" y="433437"/>
                  </a:cubicBezTo>
                  <a:close/>
                  <a:moveTo>
                    <a:pt x="182910" y="541641"/>
                  </a:moveTo>
                  <a:cubicBezTo>
                    <a:pt x="197128" y="541458"/>
                    <a:pt x="210845" y="546944"/>
                    <a:pt x="221010" y="556881"/>
                  </a:cubicBezTo>
                  <a:cubicBezTo>
                    <a:pt x="231312" y="566817"/>
                    <a:pt x="236859" y="580685"/>
                    <a:pt x="236250" y="594981"/>
                  </a:cubicBezTo>
                  <a:lnTo>
                    <a:pt x="128198" y="594981"/>
                  </a:lnTo>
                  <a:cubicBezTo>
                    <a:pt x="128092" y="565781"/>
                    <a:pt x="151683" y="542022"/>
                    <a:pt x="180898" y="541915"/>
                  </a:cubicBezTo>
                  <a:cubicBezTo>
                    <a:pt x="181568" y="541915"/>
                    <a:pt x="182239" y="541915"/>
                    <a:pt x="182910" y="541945"/>
                  </a:cubicBezTo>
                  <a:close/>
                  <a:moveTo>
                    <a:pt x="272674" y="16623"/>
                  </a:moveTo>
                  <a:cubicBezTo>
                    <a:pt x="293369" y="-4927"/>
                    <a:pt x="327628" y="-5612"/>
                    <a:pt x="349163" y="15083"/>
                  </a:cubicBezTo>
                  <a:cubicBezTo>
                    <a:pt x="359831" y="25325"/>
                    <a:pt x="365835" y="39483"/>
                    <a:pt x="365790" y="54265"/>
                  </a:cubicBezTo>
                  <a:lnTo>
                    <a:pt x="257586" y="54265"/>
                  </a:lnTo>
                  <a:cubicBezTo>
                    <a:pt x="257479" y="40138"/>
                    <a:pt x="263087" y="26559"/>
                    <a:pt x="273130" y="16623"/>
                  </a:cubicBezTo>
                  <a:close/>
                  <a:moveTo>
                    <a:pt x="272674" y="124827"/>
                  </a:moveTo>
                  <a:cubicBezTo>
                    <a:pt x="293796" y="103704"/>
                    <a:pt x="328055" y="103704"/>
                    <a:pt x="349178" y="124827"/>
                  </a:cubicBezTo>
                  <a:cubicBezTo>
                    <a:pt x="359328" y="134976"/>
                    <a:pt x="365028" y="148738"/>
                    <a:pt x="365028" y="163079"/>
                  </a:cubicBezTo>
                  <a:lnTo>
                    <a:pt x="256823" y="163079"/>
                  </a:lnTo>
                  <a:cubicBezTo>
                    <a:pt x="256747" y="148631"/>
                    <a:pt x="262660" y="134778"/>
                    <a:pt x="273130" y="124827"/>
                  </a:cubicBezTo>
                  <a:close/>
                  <a:moveTo>
                    <a:pt x="272674" y="233031"/>
                  </a:moveTo>
                  <a:cubicBezTo>
                    <a:pt x="293796" y="211908"/>
                    <a:pt x="328055" y="211908"/>
                    <a:pt x="349178" y="233031"/>
                  </a:cubicBezTo>
                  <a:cubicBezTo>
                    <a:pt x="359328" y="243180"/>
                    <a:pt x="365028" y="256942"/>
                    <a:pt x="365028" y="271283"/>
                  </a:cubicBezTo>
                  <a:lnTo>
                    <a:pt x="256823" y="271283"/>
                  </a:lnTo>
                  <a:cubicBezTo>
                    <a:pt x="256747" y="256835"/>
                    <a:pt x="262660" y="242982"/>
                    <a:pt x="273130" y="233031"/>
                  </a:cubicBezTo>
                  <a:close/>
                  <a:moveTo>
                    <a:pt x="272674" y="341234"/>
                  </a:moveTo>
                  <a:cubicBezTo>
                    <a:pt x="293796" y="320112"/>
                    <a:pt x="328055" y="320112"/>
                    <a:pt x="349178" y="341234"/>
                  </a:cubicBezTo>
                  <a:cubicBezTo>
                    <a:pt x="359328" y="351384"/>
                    <a:pt x="365028" y="365146"/>
                    <a:pt x="365028" y="379487"/>
                  </a:cubicBezTo>
                  <a:lnTo>
                    <a:pt x="256823" y="379487"/>
                  </a:lnTo>
                  <a:cubicBezTo>
                    <a:pt x="256747" y="365039"/>
                    <a:pt x="262660" y="351186"/>
                    <a:pt x="273130" y="341234"/>
                  </a:cubicBezTo>
                  <a:close/>
                  <a:moveTo>
                    <a:pt x="310926" y="433437"/>
                  </a:moveTo>
                  <a:cubicBezTo>
                    <a:pt x="318058" y="433284"/>
                    <a:pt x="325129" y="434686"/>
                    <a:pt x="331652" y="437551"/>
                  </a:cubicBezTo>
                  <a:cubicBezTo>
                    <a:pt x="338144" y="440462"/>
                    <a:pt x="344073" y="444486"/>
                    <a:pt x="349178" y="449439"/>
                  </a:cubicBezTo>
                  <a:cubicBezTo>
                    <a:pt x="354223" y="454178"/>
                    <a:pt x="358261" y="459878"/>
                    <a:pt x="361065" y="466203"/>
                  </a:cubicBezTo>
                  <a:cubicBezTo>
                    <a:pt x="363656" y="473015"/>
                    <a:pt x="364997" y="480254"/>
                    <a:pt x="365028" y="487539"/>
                  </a:cubicBezTo>
                  <a:lnTo>
                    <a:pt x="256823" y="487539"/>
                  </a:lnTo>
                  <a:cubicBezTo>
                    <a:pt x="256992" y="457729"/>
                    <a:pt x="281116" y="433604"/>
                    <a:pt x="310926" y="433437"/>
                  </a:cubicBezTo>
                  <a:close/>
                  <a:moveTo>
                    <a:pt x="310926" y="541641"/>
                  </a:moveTo>
                  <a:cubicBezTo>
                    <a:pt x="325145" y="541671"/>
                    <a:pt x="338830" y="547127"/>
                    <a:pt x="349178" y="556881"/>
                  </a:cubicBezTo>
                  <a:cubicBezTo>
                    <a:pt x="359344" y="565949"/>
                    <a:pt x="364921" y="579086"/>
                    <a:pt x="364418" y="592694"/>
                  </a:cubicBezTo>
                  <a:lnTo>
                    <a:pt x="364418" y="594981"/>
                  </a:lnTo>
                  <a:lnTo>
                    <a:pt x="256214" y="594981"/>
                  </a:lnTo>
                  <a:cubicBezTo>
                    <a:pt x="255727" y="580564"/>
                    <a:pt x="261244" y="566604"/>
                    <a:pt x="271454" y="556424"/>
                  </a:cubicBezTo>
                  <a:cubicBezTo>
                    <a:pt x="282168" y="546243"/>
                    <a:pt x="296630" y="541000"/>
                    <a:pt x="311383" y="541945"/>
                  </a:cubicBezTo>
                  <a:close/>
                  <a:moveTo>
                    <a:pt x="438942" y="773"/>
                  </a:moveTo>
                  <a:cubicBezTo>
                    <a:pt x="453511" y="103"/>
                    <a:pt x="467700" y="5634"/>
                    <a:pt x="477956" y="16013"/>
                  </a:cubicBezTo>
                  <a:cubicBezTo>
                    <a:pt x="487923" y="26224"/>
                    <a:pt x="493410" y="40001"/>
                    <a:pt x="493196" y="54265"/>
                  </a:cubicBezTo>
                  <a:lnTo>
                    <a:pt x="384992" y="54265"/>
                  </a:lnTo>
                  <a:cubicBezTo>
                    <a:pt x="385160" y="24456"/>
                    <a:pt x="409285" y="331"/>
                    <a:pt x="439094" y="164"/>
                  </a:cubicBezTo>
                  <a:close/>
                  <a:moveTo>
                    <a:pt x="438942" y="108977"/>
                  </a:moveTo>
                  <a:cubicBezTo>
                    <a:pt x="453511" y="108306"/>
                    <a:pt x="467700" y="113838"/>
                    <a:pt x="477956" y="124217"/>
                  </a:cubicBezTo>
                  <a:cubicBezTo>
                    <a:pt x="487923" y="134428"/>
                    <a:pt x="493410" y="148205"/>
                    <a:pt x="493196" y="162469"/>
                  </a:cubicBezTo>
                  <a:lnTo>
                    <a:pt x="384992" y="162469"/>
                  </a:lnTo>
                  <a:cubicBezTo>
                    <a:pt x="385160" y="132660"/>
                    <a:pt x="409285" y="108535"/>
                    <a:pt x="439094" y="108367"/>
                  </a:cubicBezTo>
                  <a:close/>
                  <a:moveTo>
                    <a:pt x="438942" y="217181"/>
                  </a:moveTo>
                  <a:cubicBezTo>
                    <a:pt x="453511" y="216510"/>
                    <a:pt x="467700" y="222043"/>
                    <a:pt x="477956" y="232421"/>
                  </a:cubicBezTo>
                  <a:cubicBezTo>
                    <a:pt x="487923" y="242632"/>
                    <a:pt x="493410" y="256409"/>
                    <a:pt x="493196" y="270674"/>
                  </a:cubicBezTo>
                  <a:lnTo>
                    <a:pt x="384992" y="270674"/>
                  </a:lnTo>
                  <a:cubicBezTo>
                    <a:pt x="385160" y="240864"/>
                    <a:pt x="409285" y="216739"/>
                    <a:pt x="439094" y="216571"/>
                  </a:cubicBezTo>
                  <a:close/>
                  <a:moveTo>
                    <a:pt x="438942" y="325385"/>
                  </a:moveTo>
                  <a:cubicBezTo>
                    <a:pt x="453527" y="324654"/>
                    <a:pt x="467731" y="330201"/>
                    <a:pt x="477956" y="340625"/>
                  </a:cubicBezTo>
                  <a:cubicBezTo>
                    <a:pt x="487923" y="350836"/>
                    <a:pt x="493410" y="364613"/>
                    <a:pt x="493196" y="378877"/>
                  </a:cubicBezTo>
                  <a:lnTo>
                    <a:pt x="384992" y="378877"/>
                  </a:lnTo>
                  <a:cubicBezTo>
                    <a:pt x="385160" y="349068"/>
                    <a:pt x="409285" y="324943"/>
                    <a:pt x="439094" y="324775"/>
                  </a:cubicBezTo>
                  <a:close/>
                  <a:moveTo>
                    <a:pt x="438942" y="433437"/>
                  </a:moveTo>
                  <a:cubicBezTo>
                    <a:pt x="446333" y="433101"/>
                    <a:pt x="453694" y="434518"/>
                    <a:pt x="460431" y="437551"/>
                  </a:cubicBezTo>
                  <a:cubicBezTo>
                    <a:pt x="466557" y="440691"/>
                    <a:pt x="472210" y="444684"/>
                    <a:pt x="477194" y="449439"/>
                  </a:cubicBezTo>
                  <a:cubicBezTo>
                    <a:pt x="482467" y="453980"/>
                    <a:pt x="486536" y="459726"/>
                    <a:pt x="489082" y="466203"/>
                  </a:cubicBezTo>
                  <a:cubicBezTo>
                    <a:pt x="491672" y="473015"/>
                    <a:pt x="493014" y="480254"/>
                    <a:pt x="493043" y="487539"/>
                  </a:cubicBezTo>
                  <a:lnTo>
                    <a:pt x="384840" y="487539"/>
                  </a:lnTo>
                  <a:cubicBezTo>
                    <a:pt x="385175" y="457790"/>
                    <a:pt x="409194" y="433772"/>
                    <a:pt x="438942" y="433437"/>
                  </a:cubicBezTo>
                  <a:close/>
                  <a:moveTo>
                    <a:pt x="438942" y="541641"/>
                  </a:moveTo>
                  <a:cubicBezTo>
                    <a:pt x="453481" y="541153"/>
                    <a:pt x="467593" y="546670"/>
                    <a:pt x="477956" y="556881"/>
                  </a:cubicBezTo>
                  <a:cubicBezTo>
                    <a:pt x="488091" y="566924"/>
                    <a:pt x="493608" y="580716"/>
                    <a:pt x="493196" y="594981"/>
                  </a:cubicBezTo>
                  <a:lnTo>
                    <a:pt x="384992" y="594981"/>
                  </a:lnTo>
                  <a:cubicBezTo>
                    <a:pt x="384642" y="580442"/>
                    <a:pt x="390464" y="566436"/>
                    <a:pt x="400994" y="556424"/>
                  </a:cubicBezTo>
                  <a:cubicBezTo>
                    <a:pt x="411297" y="546578"/>
                    <a:pt x="425165" y="541351"/>
                    <a:pt x="439399" y="541945"/>
                  </a:cubicBezTo>
                  <a:close/>
                  <a:moveTo>
                    <a:pt x="529620" y="16623"/>
                  </a:moveTo>
                  <a:cubicBezTo>
                    <a:pt x="550956" y="-4424"/>
                    <a:pt x="585307" y="-4180"/>
                    <a:pt x="606338" y="17141"/>
                  </a:cubicBezTo>
                  <a:cubicBezTo>
                    <a:pt x="616274" y="27199"/>
                    <a:pt x="621883" y="40748"/>
                    <a:pt x="621974" y="54875"/>
                  </a:cubicBezTo>
                  <a:lnTo>
                    <a:pt x="513771" y="54875"/>
                  </a:lnTo>
                  <a:cubicBezTo>
                    <a:pt x="513694" y="40428"/>
                    <a:pt x="519607" y="26574"/>
                    <a:pt x="530077" y="16623"/>
                  </a:cubicBezTo>
                  <a:close/>
                  <a:moveTo>
                    <a:pt x="529620" y="124827"/>
                  </a:moveTo>
                  <a:cubicBezTo>
                    <a:pt x="550956" y="103780"/>
                    <a:pt x="585307" y="104024"/>
                    <a:pt x="606338" y="125345"/>
                  </a:cubicBezTo>
                  <a:cubicBezTo>
                    <a:pt x="616274" y="135403"/>
                    <a:pt x="621883" y="148952"/>
                    <a:pt x="621974" y="163079"/>
                  </a:cubicBezTo>
                  <a:lnTo>
                    <a:pt x="513771" y="163079"/>
                  </a:lnTo>
                  <a:cubicBezTo>
                    <a:pt x="513694" y="148631"/>
                    <a:pt x="519607" y="134778"/>
                    <a:pt x="530077" y="124827"/>
                  </a:cubicBezTo>
                  <a:close/>
                  <a:moveTo>
                    <a:pt x="567872" y="217181"/>
                  </a:moveTo>
                  <a:cubicBezTo>
                    <a:pt x="597682" y="217348"/>
                    <a:pt x="621807" y="241473"/>
                    <a:pt x="621974" y="271283"/>
                  </a:cubicBezTo>
                  <a:lnTo>
                    <a:pt x="513771" y="271283"/>
                  </a:lnTo>
                  <a:cubicBezTo>
                    <a:pt x="513649" y="261758"/>
                    <a:pt x="516117" y="252370"/>
                    <a:pt x="520933" y="244156"/>
                  </a:cubicBezTo>
                  <a:cubicBezTo>
                    <a:pt x="525581" y="235850"/>
                    <a:pt x="532439" y="228992"/>
                    <a:pt x="540745" y="224344"/>
                  </a:cubicBezTo>
                  <a:cubicBezTo>
                    <a:pt x="549127" y="219513"/>
                    <a:pt x="558652" y="217028"/>
                    <a:pt x="568329" y="217181"/>
                  </a:cubicBezTo>
                  <a:close/>
                  <a:moveTo>
                    <a:pt x="529620" y="341234"/>
                  </a:moveTo>
                  <a:cubicBezTo>
                    <a:pt x="550956" y="320188"/>
                    <a:pt x="585307" y="320432"/>
                    <a:pt x="606338" y="341753"/>
                  </a:cubicBezTo>
                  <a:cubicBezTo>
                    <a:pt x="616274" y="351811"/>
                    <a:pt x="621883" y="365359"/>
                    <a:pt x="621974" y="379487"/>
                  </a:cubicBezTo>
                  <a:lnTo>
                    <a:pt x="513771" y="379487"/>
                  </a:lnTo>
                  <a:cubicBezTo>
                    <a:pt x="513694" y="365039"/>
                    <a:pt x="519607" y="351186"/>
                    <a:pt x="530077" y="341234"/>
                  </a:cubicBezTo>
                  <a:close/>
                  <a:moveTo>
                    <a:pt x="567872" y="433437"/>
                  </a:moveTo>
                  <a:cubicBezTo>
                    <a:pt x="575005" y="433284"/>
                    <a:pt x="582076" y="434686"/>
                    <a:pt x="588599" y="437551"/>
                  </a:cubicBezTo>
                  <a:cubicBezTo>
                    <a:pt x="595075" y="440417"/>
                    <a:pt x="600959" y="444440"/>
                    <a:pt x="605972" y="449439"/>
                  </a:cubicBezTo>
                  <a:cubicBezTo>
                    <a:pt x="610712" y="454300"/>
                    <a:pt x="614522" y="459985"/>
                    <a:pt x="617250" y="466203"/>
                  </a:cubicBezTo>
                  <a:cubicBezTo>
                    <a:pt x="620313" y="472908"/>
                    <a:pt x="621914" y="480178"/>
                    <a:pt x="621974" y="487539"/>
                  </a:cubicBezTo>
                  <a:lnTo>
                    <a:pt x="513771" y="487539"/>
                  </a:lnTo>
                  <a:cubicBezTo>
                    <a:pt x="513709" y="477831"/>
                    <a:pt x="516178" y="468260"/>
                    <a:pt x="520933" y="459802"/>
                  </a:cubicBezTo>
                  <a:cubicBezTo>
                    <a:pt x="525779" y="451801"/>
                    <a:pt x="532607" y="445187"/>
                    <a:pt x="540745" y="440600"/>
                  </a:cubicBezTo>
                  <a:cubicBezTo>
                    <a:pt x="549157" y="435829"/>
                    <a:pt x="558667" y="433360"/>
                    <a:pt x="568329" y="433437"/>
                  </a:cubicBezTo>
                  <a:close/>
                  <a:moveTo>
                    <a:pt x="567872" y="541641"/>
                  </a:moveTo>
                  <a:cubicBezTo>
                    <a:pt x="582091" y="541458"/>
                    <a:pt x="595807" y="546944"/>
                    <a:pt x="605972" y="556881"/>
                  </a:cubicBezTo>
                  <a:cubicBezTo>
                    <a:pt x="616548" y="566680"/>
                    <a:pt x="622385" y="580564"/>
                    <a:pt x="621974" y="594981"/>
                  </a:cubicBezTo>
                  <a:lnTo>
                    <a:pt x="513771" y="594981"/>
                  </a:lnTo>
                  <a:cubicBezTo>
                    <a:pt x="513282" y="580564"/>
                    <a:pt x="518799" y="566604"/>
                    <a:pt x="529011" y="556424"/>
                  </a:cubicBezTo>
                  <a:cubicBezTo>
                    <a:pt x="539572" y="546395"/>
                    <a:pt x="553790" y="541153"/>
                    <a:pt x="568329" y="541945"/>
                  </a:cubicBezTo>
                  <a:close/>
                </a:path>
              </a:pathLst>
            </a:custGeom>
            <a:solidFill>
              <a:srgbClr val="007BC7"/>
            </a:solidFill>
            <a:ln w="15240" cap="flat">
              <a:noFill/>
              <a:prstDash val="solid"/>
              <a:miter/>
            </a:ln>
          </p:spPr>
          <p:txBody>
            <a:bodyPr rtlCol="0" anchor="ctr"/>
            <a:lstStyle/>
            <a:p>
              <a:endParaRPr lang="nl-NL"/>
            </a:p>
          </p:txBody>
        </p:sp>
        <p:sp>
          <p:nvSpPr>
            <p:cNvPr id="26" name="Vrije vorm: vorm 25">
              <a:extLst>
                <a:ext uri="{FF2B5EF4-FFF2-40B4-BE49-F238E27FC236}">
                  <a16:creationId xmlns:a16="http://schemas.microsoft.com/office/drawing/2014/main" id="{C59CC42E-956B-4F65-80E0-538C4AEF07A6}"/>
                </a:ext>
              </a:extLst>
            </p:cNvPr>
            <p:cNvSpPr/>
            <p:nvPr/>
          </p:nvSpPr>
          <p:spPr>
            <a:xfrm>
              <a:off x="9612324" y="5649010"/>
              <a:ext cx="466801" cy="540562"/>
            </a:xfrm>
            <a:custGeom>
              <a:avLst/>
              <a:gdLst>
                <a:gd name="connsiteX0" fmla="*/ 0 w 466801"/>
                <a:gd name="connsiteY0" fmla="*/ 0 h 540562"/>
                <a:gd name="connsiteX1" fmla="*/ 123901 w 466801"/>
                <a:gd name="connsiteY1" fmla="*/ 0 h 540562"/>
                <a:gd name="connsiteX2" fmla="*/ 123901 w 466801"/>
                <a:gd name="connsiteY2" fmla="*/ 439369 h 540562"/>
                <a:gd name="connsiteX3" fmla="*/ 466801 w 466801"/>
                <a:gd name="connsiteY3" fmla="*/ 439369 h 540562"/>
                <a:gd name="connsiteX4" fmla="*/ 466801 w 466801"/>
                <a:gd name="connsiteY4" fmla="*/ 540563 h 540562"/>
                <a:gd name="connsiteX5" fmla="*/ 0 w 466801"/>
                <a:gd name="connsiteY5" fmla="*/ 540563 h 54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801" h="540562">
                  <a:moveTo>
                    <a:pt x="0" y="0"/>
                  </a:moveTo>
                  <a:lnTo>
                    <a:pt x="123901" y="0"/>
                  </a:lnTo>
                  <a:lnTo>
                    <a:pt x="123901" y="439369"/>
                  </a:lnTo>
                  <a:lnTo>
                    <a:pt x="466801" y="439369"/>
                  </a:lnTo>
                  <a:lnTo>
                    <a:pt x="466801" y="540563"/>
                  </a:lnTo>
                  <a:lnTo>
                    <a:pt x="0" y="540563"/>
                  </a:lnTo>
                  <a:close/>
                </a:path>
              </a:pathLst>
            </a:custGeom>
            <a:solidFill>
              <a:srgbClr val="39870C"/>
            </a:solidFill>
            <a:ln w="15240" cap="flat">
              <a:noFill/>
              <a:prstDash val="solid"/>
              <a:miter/>
            </a:ln>
          </p:spPr>
          <p:txBody>
            <a:bodyPr rtlCol="0" anchor="ctr"/>
            <a:lstStyle/>
            <a:p>
              <a:endParaRPr lang="nl-NL"/>
            </a:p>
          </p:txBody>
        </p:sp>
        <p:sp>
          <p:nvSpPr>
            <p:cNvPr id="27" name="Vrije vorm: vorm 26">
              <a:extLst>
                <a:ext uri="{FF2B5EF4-FFF2-40B4-BE49-F238E27FC236}">
                  <a16:creationId xmlns:a16="http://schemas.microsoft.com/office/drawing/2014/main" id="{FE8AC7FE-FA67-4642-84A7-BCA3370FD801}"/>
                </a:ext>
              </a:extLst>
            </p:cNvPr>
            <p:cNvSpPr/>
            <p:nvPr/>
          </p:nvSpPr>
          <p:spPr>
            <a:xfrm>
              <a:off x="10241280" y="5647334"/>
              <a:ext cx="503986" cy="541781"/>
            </a:xfrm>
            <a:custGeom>
              <a:avLst/>
              <a:gdLst>
                <a:gd name="connsiteX0" fmla="*/ 0 w 503986"/>
                <a:gd name="connsiteY0" fmla="*/ 541782 h 541781"/>
                <a:gd name="connsiteX1" fmla="*/ 0 w 503986"/>
                <a:gd name="connsiteY1" fmla="*/ 0 h 541781"/>
                <a:gd name="connsiteX2" fmla="*/ 262432 w 503986"/>
                <a:gd name="connsiteY2" fmla="*/ 0 h 541781"/>
                <a:gd name="connsiteX3" fmla="*/ 479907 w 503986"/>
                <a:gd name="connsiteY3" fmla="*/ 129693 h 541781"/>
                <a:gd name="connsiteX4" fmla="*/ 396240 w 503986"/>
                <a:gd name="connsiteY4" fmla="*/ 259842 h 541781"/>
                <a:gd name="connsiteX5" fmla="*/ 396240 w 503986"/>
                <a:gd name="connsiteY5" fmla="*/ 258775 h 541781"/>
                <a:gd name="connsiteX6" fmla="*/ 503987 w 503986"/>
                <a:gd name="connsiteY6" fmla="*/ 378104 h 541781"/>
                <a:gd name="connsiteX7" fmla="*/ 279349 w 503986"/>
                <a:gd name="connsiteY7" fmla="*/ 541782 h 541781"/>
                <a:gd name="connsiteX8" fmla="*/ 109728 w 503986"/>
                <a:gd name="connsiteY8" fmla="*/ 82906 h 541781"/>
                <a:gd name="connsiteX9" fmla="*/ 109728 w 503986"/>
                <a:gd name="connsiteY9" fmla="*/ 224637 h 541781"/>
                <a:gd name="connsiteX10" fmla="*/ 254661 w 503986"/>
                <a:gd name="connsiteY10" fmla="*/ 224637 h 541781"/>
                <a:gd name="connsiteX11" fmla="*/ 367741 w 503986"/>
                <a:gd name="connsiteY11" fmla="*/ 149809 h 541781"/>
                <a:gd name="connsiteX12" fmla="*/ 258166 w 503986"/>
                <a:gd name="connsiteY12" fmla="*/ 82906 h 541781"/>
                <a:gd name="connsiteX13" fmla="*/ 109728 w 503986"/>
                <a:gd name="connsiteY13" fmla="*/ 307543 h 541781"/>
                <a:gd name="connsiteX14" fmla="*/ 109728 w 503986"/>
                <a:gd name="connsiteY14" fmla="*/ 459943 h 541781"/>
                <a:gd name="connsiteX15" fmla="*/ 275996 w 503986"/>
                <a:gd name="connsiteY15" fmla="*/ 459943 h 541781"/>
                <a:gd name="connsiteX16" fmla="*/ 391821 w 503986"/>
                <a:gd name="connsiteY16" fmla="*/ 380543 h 541781"/>
                <a:gd name="connsiteX17" fmla="*/ 251918 w 503986"/>
                <a:gd name="connsiteY17" fmla="*/ 307696 h 54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986" h="541781">
                  <a:moveTo>
                    <a:pt x="0" y="541782"/>
                  </a:moveTo>
                  <a:lnTo>
                    <a:pt x="0" y="0"/>
                  </a:lnTo>
                  <a:lnTo>
                    <a:pt x="262432" y="0"/>
                  </a:lnTo>
                  <a:cubicBezTo>
                    <a:pt x="413156" y="0"/>
                    <a:pt x="479907" y="49835"/>
                    <a:pt x="479907" y="129693"/>
                  </a:cubicBezTo>
                  <a:cubicBezTo>
                    <a:pt x="479907" y="191719"/>
                    <a:pt x="450494" y="239268"/>
                    <a:pt x="396240" y="259842"/>
                  </a:cubicBezTo>
                  <a:lnTo>
                    <a:pt x="396240" y="258775"/>
                  </a:lnTo>
                  <a:cubicBezTo>
                    <a:pt x="468325" y="275997"/>
                    <a:pt x="503987" y="312877"/>
                    <a:pt x="503987" y="378104"/>
                  </a:cubicBezTo>
                  <a:cubicBezTo>
                    <a:pt x="503987" y="485547"/>
                    <a:pt x="427787" y="541782"/>
                    <a:pt x="279349" y="541782"/>
                  </a:cubicBezTo>
                  <a:close/>
                  <a:moveTo>
                    <a:pt x="109728" y="82906"/>
                  </a:moveTo>
                  <a:lnTo>
                    <a:pt x="109728" y="224637"/>
                  </a:lnTo>
                  <a:lnTo>
                    <a:pt x="254661" y="224637"/>
                  </a:lnTo>
                  <a:cubicBezTo>
                    <a:pt x="329489" y="224637"/>
                    <a:pt x="367741" y="206502"/>
                    <a:pt x="367741" y="149809"/>
                  </a:cubicBezTo>
                  <a:cubicBezTo>
                    <a:pt x="367741" y="99974"/>
                    <a:pt x="333908" y="82906"/>
                    <a:pt x="258166" y="82906"/>
                  </a:cubicBezTo>
                  <a:close/>
                  <a:moveTo>
                    <a:pt x="109728" y="307543"/>
                  </a:moveTo>
                  <a:lnTo>
                    <a:pt x="109728" y="459943"/>
                  </a:lnTo>
                  <a:lnTo>
                    <a:pt x="275996" y="459943"/>
                  </a:lnTo>
                  <a:cubicBezTo>
                    <a:pt x="348234" y="459943"/>
                    <a:pt x="391821" y="436321"/>
                    <a:pt x="391821" y="380543"/>
                  </a:cubicBezTo>
                  <a:cubicBezTo>
                    <a:pt x="391821" y="329032"/>
                    <a:pt x="351739" y="307696"/>
                    <a:pt x="251918" y="307696"/>
                  </a:cubicBezTo>
                  <a:close/>
                </a:path>
              </a:pathLst>
            </a:custGeom>
            <a:solidFill>
              <a:srgbClr val="39870C"/>
            </a:solidFill>
            <a:ln w="15240" cap="flat">
              <a:noFill/>
              <a:prstDash val="solid"/>
              <a:miter/>
            </a:ln>
          </p:spPr>
          <p:txBody>
            <a:bodyPr rtlCol="0" anchor="ctr"/>
            <a:lstStyle/>
            <a:p>
              <a:endParaRPr lang="nl-NL"/>
            </a:p>
          </p:txBody>
        </p:sp>
        <p:sp>
          <p:nvSpPr>
            <p:cNvPr id="28" name="Vrije vorm: vorm 27">
              <a:extLst>
                <a:ext uri="{FF2B5EF4-FFF2-40B4-BE49-F238E27FC236}">
                  <a16:creationId xmlns:a16="http://schemas.microsoft.com/office/drawing/2014/main" id="{A949DD55-C827-40AE-8447-F8F35F3F4CFA}"/>
                </a:ext>
              </a:extLst>
            </p:cNvPr>
            <p:cNvSpPr/>
            <p:nvPr/>
          </p:nvSpPr>
          <p:spPr>
            <a:xfrm>
              <a:off x="8881938" y="5636250"/>
              <a:ext cx="511235" cy="563397"/>
            </a:xfrm>
            <a:custGeom>
              <a:avLst/>
              <a:gdLst>
                <a:gd name="connsiteX0" fmla="*/ 304430 w 511235"/>
                <a:gd name="connsiteY0" fmla="*/ 354441 h 563397"/>
                <a:gd name="connsiteX1" fmla="*/ 409128 w 511235"/>
                <a:gd name="connsiteY1" fmla="*/ 354441 h 563397"/>
                <a:gd name="connsiteX2" fmla="*/ 409128 w 511235"/>
                <a:gd name="connsiteY2" fmla="*/ 466608 h 563397"/>
                <a:gd name="connsiteX3" fmla="*/ 328204 w 511235"/>
                <a:gd name="connsiteY3" fmla="*/ 470113 h 563397"/>
                <a:gd name="connsiteX4" fmla="*/ 111948 w 511235"/>
                <a:gd name="connsiteY4" fmla="*/ 284337 h 563397"/>
                <a:gd name="connsiteX5" fmla="*/ 461096 w 511235"/>
                <a:gd name="connsiteY5" fmla="*/ 126908 h 563397"/>
                <a:gd name="connsiteX6" fmla="*/ 503159 w 511235"/>
                <a:gd name="connsiteY6" fmla="*/ 33639 h 563397"/>
                <a:gd name="connsiteX7" fmla="*/ 382915 w 511235"/>
                <a:gd name="connsiteY7" fmla="*/ 3159 h 563397"/>
                <a:gd name="connsiteX8" fmla="*/ 24166 w 511235"/>
                <a:gd name="connsiteY8" fmla="*/ 174914 h 563397"/>
                <a:gd name="connsiteX9" fmla="*/ 61504 w 511235"/>
                <a:gd name="connsiteY9" fmla="*/ 460207 h 563397"/>
                <a:gd name="connsiteX10" fmla="*/ 305344 w 511235"/>
                <a:gd name="connsiteY10" fmla="*/ 563381 h 563397"/>
                <a:gd name="connsiteX11" fmla="*/ 323174 w 511235"/>
                <a:gd name="connsiteY11" fmla="*/ 563381 h 563397"/>
                <a:gd name="connsiteX12" fmla="*/ 511236 w 511235"/>
                <a:gd name="connsiteY12" fmla="*/ 546922 h 563397"/>
                <a:gd name="connsiteX13" fmla="*/ 511236 w 511235"/>
                <a:gd name="connsiteY13" fmla="*/ 267421 h 563397"/>
                <a:gd name="connsiteX14" fmla="*/ 304430 w 511235"/>
                <a:gd name="connsiteY14" fmla="*/ 267421 h 56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235" h="563397">
                  <a:moveTo>
                    <a:pt x="304430" y="354441"/>
                  </a:moveTo>
                  <a:lnTo>
                    <a:pt x="409128" y="354441"/>
                  </a:lnTo>
                  <a:lnTo>
                    <a:pt x="409128" y="466608"/>
                  </a:lnTo>
                  <a:cubicBezTo>
                    <a:pt x="383524" y="469198"/>
                    <a:pt x="354721" y="470113"/>
                    <a:pt x="328204" y="470113"/>
                  </a:cubicBezTo>
                  <a:cubicBezTo>
                    <a:pt x="229144" y="470113"/>
                    <a:pt x="111948" y="428660"/>
                    <a:pt x="111948" y="284337"/>
                  </a:cubicBezTo>
                  <a:cubicBezTo>
                    <a:pt x="111948" y="99324"/>
                    <a:pt x="318450" y="62138"/>
                    <a:pt x="461096" y="126908"/>
                  </a:cubicBezTo>
                  <a:lnTo>
                    <a:pt x="503159" y="33639"/>
                  </a:lnTo>
                  <a:cubicBezTo>
                    <a:pt x="464525" y="18429"/>
                    <a:pt x="424124" y="8188"/>
                    <a:pt x="382915" y="3159"/>
                  </a:cubicBezTo>
                  <a:cubicBezTo>
                    <a:pt x="242250" y="-13757"/>
                    <a:pt x="80858" y="36382"/>
                    <a:pt x="24166" y="174914"/>
                  </a:cubicBezTo>
                  <a:cubicBezTo>
                    <a:pt x="-15459" y="271688"/>
                    <a:pt x="-8601" y="379739"/>
                    <a:pt x="61504" y="460207"/>
                  </a:cubicBezTo>
                  <a:cubicBezTo>
                    <a:pt x="122464" y="530768"/>
                    <a:pt x="215884" y="560181"/>
                    <a:pt x="305344" y="563381"/>
                  </a:cubicBezTo>
                  <a:lnTo>
                    <a:pt x="323174" y="563381"/>
                  </a:lnTo>
                  <a:cubicBezTo>
                    <a:pt x="386238" y="563732"/>
                    <a:pt x="449194" y="558215"/>
                    <a:pt x="511236" y="546922"/>
                  </a:cubicBezTo>
                  <a:lnTo>
                    <a:pt x="511236" y="267421"/>
                  </a:lnTo>
                  <a:lnTo>
                    <a:pt x="304430" y="267421"/>
                  </a:lnTo>
                  <a:close/>
                </a:path>
              </a:pathLst>
            </a:custGeom>
            <a:solidFill>
              <a:srgbClr val="39870C"/>
            </a:solidFill>
            <a:ln w="15240" cap="flat">
              <a:noFill/>
              <a:prstDash val="solid"/>
              <a:miter/>
            </a:ln>
          </p:spPr>
          <p:txBody>
            <a:bodyPr rtlCol="0" anchor="ctr"/>
            <a:lstStyle/>
            <a:p>
              <a:endParaRPr lang="nl-NL"/>
            </a:p>
          </p:txBody>
        </p:sp>
        <p:sp>
          <p:nvSpPr>
            <p:cNvPr id="29" name="Vrije vorm: vorm 28">
              <a:extLst>
                <a:ext uri="{FF2B5EF4-FFF2-40B4-BE49-F238E27FC236}">
                  <a16:creationId xmlns:a16="http://schemas.microsoft.com/office/drawing/2014/main" id="{9A0957BA-AE20-4258-9AC2-307C381D0264}"/>
                </a:ext>
              </a:extLst>
            </p:cNvPr>
            <p:cNvSpPr/>
            <p:nvPr/>
          </p:nvSpPr>
          <p:spPr>
            <a:xfrm>
              <a:off x="8828684" y="4297070"/>
              <a:ext cx="621639" cy="1243279"/>
            </a:xfrm>
            <a:custGeom>
              <a:avLst/>
              <a:gdLst>
                <a:gd name="connsiteX0" fmla="*/ 0 w 621639"/>
                <a:gd name="connsiteY0" fmla="*/ 0 h 1243279"/>
                <a:gd name="connsiteX1" fmla="*/ 621639 w 621639"/>
                <a:gd name="connsiteY1" fmla="*/ 0 h 1243279"/>
                <a:gd name="connsiteX2" fmla="*/ 621639 w 621639"/>
                <a:gd name="connsiteY2" fmla="*/ 1243279 h 1243279"/>
                <a:gd name="connsiteX3" fmla="*/ 0 w 621639"/>
                <a:gd name="connsiteY3" fmla="*/ 1243279 h 1243279"/>
              </a:gdLst>
              <a:ahLst/>
              <a:cxnLst>
                <a:cxn ang="0">
                  <a:pos x="connsiteX0" y="connsiteY0"/>
                </a:cxn>
                <a:cxn ang="0">
                  <a:pos x="connsiteX1" y="connsiteY1"/>
                </a:cxn>
                <a:cxn ang="0">
                  <a:pos x="connsiteX2" y="connsiteY2"/>
                </a:cxn>
                <a:cxn ang="0">
                  <a:pos x="connsiteX3" y="connsiteY3"/>
                </a:cxn>
              </a:cxnLst>
              <a:rect l="l" t="t" r="r" b="b"/>
              <a:pathLst>
                <a:path w="621639" h="1243279">
                  <a:moveTo>
                    <a:pt x="0" y="0"/>
                  </a:moveTo>
                  <a:lnTo>
                    <a:pt x="621639" y="0"/>
                  </a:lnTo>
                  <a:lnTo>
                    <a:pt x="621639" y="1243279"/>
                  </a:lnTo>
                  <a:lnTo>
                    <a:pt x="0" y="1243279"/>
                  </a:lnTo>
                  <a:close/>
                </a:path>
              </a:pathLst>
            </a:custGeom>
            <a:solidFill>
              <a:srgbClr val="154273"/>
            </a:solidFill>
            <a:ln w="15240" cap="flat">
              <a:noFill/>
              <a:prstDash val="solid"/>
              <a:miter/>
            </a:ln>
          </p:spPr>
          <p:txBody>
            <a:bodyPr rtlCol="0" anchor="ctr"/>
            <a:lstStyle/>
            <a:p>
              <a:endParaRPr lang="nl-NL"/>
            </a:p>
          </p:txBody>
        </p:sp>
        <p:sp>
          <p:nvSpPr>
            <p:cNvPr id="30" name="Vrije vorm: vorm 29">
              <a:extLst>
                <a:ext uri="{FF2B5EF4-FFF2-40B4-BE49-F238E27FC236}">
                  <a16:creationId xmlns:a16="http://schemas.microsoft.com/office/drawing/2014/main" id="{032B8F46-AB81-4F0C-8368-32D02FE74F7C}"/>
                </a:ext>
              </a:extLst>
            </p:cNvPr>
            <p:cNvSpPr/>
            <p:nvPr/>
          </p:nvSpPr>
          <p:spPr>
            <a:xfrm>
              <a:off x="8870548" y="4916666"/>
              <a:ext cx="532120" cy="446582"/>
            </a:xfrm>
            <a:custGeom>
              <a:avLst/>
              <a:gdLst>
                <a:gd name="connsiteX0" fmla="*/ 279852 w 532120"/>
                <a:gd name="connsiteY0" fmla="*/ 341133 h 446582"/>
                <a:gd name="connsiteX1" fmla="*/ 269032 w 532120"/>
                <a:gd name="connsiteY1" fmla="*/ 341133 h 446582"/>
                <a:gd name="connsiteX2" fmla="*/ 269032 w 532120"/>
                <a:gd name="connsiteY2" fmla="*/ 310653 h 446582"/>
                <a:gd name="connsiteX3" fmla="*/ 279852 w 532120"/>
                <a:gd name="connsiteY3" fmla="*/ 310653 h 446582"/>
                <a:gd name="connsiteX4" fmla="*/ 328620 w 532120"/>
                <a:gd name="connsiteY4" fmla="*/ 209002 h 446582"/>
                <a:gd name="connsiteX5" fmla="*/ 317799 w 532120"/>
                <a:gd name="connsiteY5" fmla="*/ 209002 h 446582"/>
                <a:gd name="connsiteX6" fmla="*/ 317799 w 532120"/>
                <a:gd name="connsiteY6" fmla="*/ 178522 h 446582"/>
                <a:gd name="connsiteX7" fmla="*/ 328620 w 532120"/>
                <a:gd name="connsiteY7" fmla="*/ 178522 h 446582"/>
                <a:gd name="connsiteX8" fmla="*/ 128366 w 532120"/>
                <a:gd name="connsiteY8" fmla="*/ 158253 h 446582"/>
                <a:gd name="connsiteX9" fmla="*/ 121966 w 532120"/>
                <a:gd name="connsiteY9" fmla="*/ 159472 h 446582"/>
                <a:gd name="connsiteX10" fmla="*/ 128366 w 532120"/>
                <a:gd name="connsiteY10" fmla="*/ 160692 h 446582"/>
                <a:gd name="connsiteX11" fmla="*/ 146502 w 532120"/>
                <a:gd name="connsiteY11" fmla="*/ 166483 h 446582"/>
                <a:gd name="connsiteX12" fmla="*/ 156012 w 532120"/>
                <a:gd name="connsiteY12" fmla="*/ 158710 h 446582"/>
                <a:gd name="connsiteX13" fmla="*/ 155494 w 532120"/>
                <a:gd name="connsiteY13" fmla="*/ 154748 h 446582"/>
                <a:gd name="connsiteX14" fmla="*/ 154122 w 532120"/>
                <a:gd name="connsiteY14" fmla="*/ 154748 h 446582"/>
                <a:gd name="connsiteX15" fmla="*/ 144369 w 532120"/>
                <a:gd name="connsiteY15" fmla="*/ 160234 h 446582"/>
                <a:gd name="connsiteX16" fmla="*/ 128366 w 532120"/>
                <a:gd name="connsiteY16" fmla="*/ 158253 h 446582"/>
                <a:gd name="connsiteX17" fmla="*/ 68931 w 532120"/>
                <a:gd name="connsiteY17" fmla="*/ 188733 h 446582"/>
                <a:gd name="connsiteX18" fmla="*/ 64359 w 532120"/>
                <a:gd name="connsiteY18" fmla="*/ 208393 h 446582"/>
                <a:gd name="connsiteX19" fmla="*/ 64359 w 532120"/>
                <a:gd name="connsiteY19" fmla="*/ 209764 h 446582"/>
                <a:gd name="connsiteX20" fmla="*/ 81579 w 532120"/>
                <a:gd name="connsiteY20" fmla="*/ 205649 h 446582"/>
                <a:gd name="connsiteX21" fmla="*/ 78380 w 532120"/>
                <a:gd name="connsiteY21" fmla="*/ 226376 h 446582"/>
                <a:gd name="connsiteX22" fmla="*/ 93620 w 532120"/>
                <a:gd name="connsiteY22" fmla="*/ 234606 h 446582"/>
                <a:gd name="connsiteX23" fmla="*/ 103068 w 532120"/>
                <a:gd name="connsiteY23" fmla="*/ 224699 h 446582"/>
                <a:gd name="connsiteX24" fmla="*/ 103068 w 532120"/>
                <a:gd name="connsiteY24" fmla="*/ 235977 h 446582"/>
                <a:gd name="connsiteX25" fmla="*/ 153208 w 532120"/>
                <a:gd name="connsiteY25" fmla="*/ 222719 h 446582"/>
                <a:gd name="connsiteX26" fmla="*/ 153969 w 532120"/>
                <a:gd name="connsiteY26" fmla="*/ 222719 h 446582"/>
                <a:gd name="connsiteX27" fmla="*/ 123489 w 532120"/>
                <a:gd name="connsiteY27" fmla="*/ 185380 h 446582"/>
                <a:gd name="connsiteX28" fmla="*/ 107031 w 532120"/>
                <a:gd name="connsiteY28" fmla="*/ 171817 h 446582"/>
                <a:gd name="connsiteX29" fmla="*/ 122271 w 532120"/>
                <a:gd name="connsiteY29" fmla="*/ 175474 h 446582"/>
                <a:gd name="connsiteX30" fmla="*/ 122271 w 532120"/>
                <a:gd name="connsiteY30" fmla="*/ 169683 h 446582"/>
                <a:gd name="connsiteX31" fmla="*/ 123642 w 532120"/>
                <a:gd name="connsiteY31" fmla="*/ 164654 h 446582"/>
                <a:gd name="connsiteX32" fmla="*/ 110231 w 532120"/>
                <a:gd name="connsiteY32" fmla="*/ 162368 h 446582"/>
                <a:gd name="connsiteX33" fmla="*/ 128824 w 532120"/>
                <a:gd name="connsiteY33" fmla="*/ 156729 h 446582"/>
                <a:gd name="connsiteX34" fmla="*/ 132481 w 532120"/>
                <a:gd name="connsiteY34" fmla="*/ 147738 h 446582"/>
                <a:gd name="connsiteX35" fmla="*/ 134463 w 532120"/>
                <a:gd name="connsiteY35" fmla="*/ 144537 h 446582"/>
                <a:gd name="connsiteX36" fmla="*/ 119223 w 532120"/>
                <a:gd name="connsiteY36" fmla="*/ 134022 h 446582"/>
                <a:gd name="connsiteX37" fmla="*/ 98649 w 532120"/>
                <a:gd name="connsiteY37" fmla="*/ 126554 h 446582"/>
                <a:gd name="connsiteX38" fmla="*/ 88895 w 532120"/>
                <a:gd name="connsiteY38" fmla="*/ 121525 h 446582"/>
                <a:gd name="connsiteX39" fmla="*/ 87371 w 532120"/>
                <a:gd name="connsiteY39" fmla="*/ 121525 h 446582"/>
                <a:gd name="connsiteX40" fmla="*/ 89657 w 532120"/>
                <a:gd name="connsiteY40" fmla="*/ 130821 h 446582"/>
                <a:gd name="connsiteX41" fmla="*/ 96972 w 532120"/>
                <a:gd name="connsiteY41" fmla="*/ 142099 h 446582"/>
                <a:gd name="connsiteX42" fmla="*/ 94991 w 532120"/>
                <a:gd name="connsiteY42" fmla="*/ 142099 h 446582"/>
                <a:gd name="connsiteX43" fmla="*/ 70165 w 532120"/>
                <a:gd name="connsiteY43" fmla="*/ 132193 h 446582"/>
                <a:gd name="connsiteX44" fmla="*/ 66644 w 532120"/>
                <a:gd name="connsiteY44" fmla="*/ 134174 h 446582"/>
                <a:gd name="connsiteX45" fmla="*/ 77465 w 532120"/>
                <a:gd name="connsiteY45" fmla="*/ 144537 h 446582"/>
                <a:gd name="connsiteX46" fmla="*/ 82494 w 532120"/>
                <a:gd name="connsiteY46" fmla="*/ 139508 h 446582"/>
                <a:gd name="connsiteX47" fmla="*/ 83561 w 532120"/>
                <a:gd name="connsiteY47" fmla="*/ 139508 h 446582"/>
                <a:gd name="connsiteX48" fmla="*/ 69998 w 532120"/>
                <a:gd name="connsiteY48" fmla="*/ 146976 h 446582"/>
                <a:gd name="connsiteX49" fmla="*/ 65425 w 532120"/>
                <a:gd name="connsiteY49" fmla="*/ 171664 h 446582"/>
                <a:gd name="connsiteX50" fmla="*/ 56587 w 532120"/>
                <a:gd name="connsiteY50" fmla="*/ 183094 h 446582"/>
                <a:gd name="connsiteX51" fmla="*/ 56587 w 532120"/>
                <a:gd name="connsiteY51" fmla="*/ 183094 h 446582"/>
                <a:gd name="connsiteX52" fmla="*/ 67528 w 532120"/>
                <a:gd name="connsiteY52" fmla="*/ 188169 h 446582"/>
                <a:gd name="connsiteX53" fmla="*/ 68931 w 532120"/>
                <a:gd name="connsiteY53" fmla="*/ 187514 h 446582"/>
                <a:gd name="connsiteX54" fmla="*/ 119679 w 532120"/>
                <a:gd name="connsiteY54" fmla="*/ 142251 h 446582"/>
                <a:gd name="connsiteX55" fmla="*/ 109423 w 532120"/>
                <a:gd name="connsiteY55" fmla="*/ 143592 h 446582"/>
                <a:gd name="connsiteX56" fmla="*/ 106573 w 532120"/>
                <a:gd name="connsiteY56" fmla="*/ 138136 h 446582"/>
                <a:gd name="connsiteX57" fmla="*/ 119679 w 532120"/>
                <a:gd name="connsiteY57" fmla="*/ 141032 h 446582"/>
                <a:gd name="connsiteX58" fmla="*/ 393999 w 532120"/>
                <a:gd name="connsiteY58" fmla="*/ 160692 h 446582"/>
                <a:gd name="connsiteX59" fmla="*/ 384247 w 532120"/>
                <a:gd name="connsiteY59" fmla="*/ 155205 h 446582"/>
                <a:gd name="connsiteX60" fmla="*/ 382875 w 532120"/>
                <a:gd name="connsiteY60" fmla="*/ 155205 h 446582"/>
                <a:gd name="connsiteX61" fmla="*/ 387904 w 532120"/>
                <a:gd name="connsiteY61" fmla="*/ 166422 h 446582"/>
                <a:gd name="connsiteX62" fmla="*/ 391867 w 532120"/>
                <a:gd name="connsiteY62" fmla="*/ 166940 h 446582"/>
                <a:gd name="connsiteX63" fmla="*/ 410002 w 532120"/>
                <a:gd name="connsiteY63" fmla="*/ 161149 h 446582"/>
                <a:gd name="connsiteX64" fmla="*/ 416403 w 532120"/>
                <a:gd name="connsiteY64" fmla="*/ 159929 h 446582"/>
                <a:gd name="connsiteX65" fmla="*/ 410002 w 532120"/>
                <a:gd name="connsiteY65" fmla="*/ 158710 h 446582"/>
                <a:gd name="connsiteX66" fmla="*/ 393695 w 532120"/>
                <a:gd name="connsiteY66" fmla="*/ 159472 h 446582"/>
                <a:gd name="connsiteX67" fmla="*/ 482849 w 532120"/>
                <a:gd name="connsiteY67" fmla="*/ 182789 h 446582"/>
                <a:gd name="connsiteX68" fmla="*/ 482849 w 532120"/>
                <a:gd name="connsiteY68" fmla="*/ 182789 h 446582"/>
                <a:gd name="connsiteX69" fmla="*/ 474009 w 532120"/>
                <a:gd name="connsiteY69" fmla="*/ 171359 h 446582"/>
                <a:gd name="connsiteX70" fmla="*/ 469438 w 532120"/>
                <a:gd name="connsiteY70" fmla="*/ 146671 h 446582"/>
                <a:gd name="connsiteX71" fmla="*/ 457475 w 532120"/>
                <a:gd name="connsiteY71" fmla="*/ 145116 h 446582"/>
                <a:gd name="connsiteX72" fmla="*/ 455722 w 532120"/>
                <a:gd name="connsiteY72" fmla="*/ 139203 h 446582"/>
                <a:gd name="connsiteX73" fmla="*/ 456941 w 532120"/>
                <a:gd name="connsiteY73" fmla="*/ 139203 h 446582"/>
                <a:gd name="connsiteX74" fmla="*/ 461970 w 532120"/>
                <a:gd name="connsiteY74" fmla="*/ 144232 h 446582"/>
                <a:gd name="connsiteX75" fmla="*/ 472791 w 532120"/>
                <a:gd name="connsiteY75" fmla="*/ 133869 h 446582"/>
                <a:gd name="connsiteX76" fmla="*/ 446425 w 532120"/>
                <a:gd name="connsiteY76" fmla="*/ 138273 h 446582"/>
                <a:gd name="connsiteX77" fmla="*/ 444444 w 532120"/>
                <a:gd name="connsiteY77" fmla="*/ 141794 h 446582"/>
                <a:gd name="connsiteX78" fmla="*/ 442463 w 532120"/>
                <a:gd name="connsiteY78" fmla="*/ 141794 h 446582"/>
                <a:gd name="connsiteX79" fmla="*/ 449778 w 532120"/>
                <a:gd name="connsiteY79" fmla="*/ 130516 h 446582"/>
                <a:gd name="connsiteX80" fmla="*/ 452064 w 532120"/>
                <a:gd name="connsiteY80" fmla="*/ 121220 h 446582"/>
                <a:gd name="connsiteX81" fmla="*/ 450540 w 532120"/>
                <a:gd name="connsiteY81" fmla="*/ 121220 h 446582"/>
                <a:gd name="connsiteX82" fmla="*/ 440786 w 532120"/>
                <a:gd name="connsiteY82" fmla="*/ 126249 h 446582"/>
                <a:gd name="connsiteX83" fmla="*/ 420213 w 532120"/>
                <a:gd name="connsiteY83" fmla="*/ 133717 h 446582"/>
                <a:gd name="connsiteX84" fmla="*/ 404211 w 532120"/>
                <a:gd name="connsiteY84" fmla="*/ 144232 h 446582"/>
                <a:gd name="connsiteX85" fmla="*/ 406192 w 532120"/>
                <a:gd name="connsiteY85" fmla="*/ 147433 h 446582"/>
                <a:gd name="connsiteX86" fmla="*/ 409850 w 532120"/>
                <a:gd name="connsiteY86" fmla="*/ 156424 h 446582"/>
                <a:gd name="connsiteX87" fmla="*/ 428442 w 532120"/>
                <a:gd name="connsiteY87" fmla="*/ 162063 h 446582"/>
                <a:gd name="connsiteX88" fmla="*/ 415031 w 532120"/>
                <a:gd name="connsiteY88" fmla="*/ 164349 h 446582"/>
                <a:gd name="connsiteX89" fmla="*/ 416403 w 532120"/>
                <a:gd name="connsiteY89" fmla="*/ 169379 h 446582"/>
                <a:gd name="connsiteX90" fmla="*/ 415641 w 532120"/>
                <a:gd name="connsiteY90" fmla="*/ 175169 h 446582"/>
                <a:gd name="connsiteX91" fmla="*/ 430881 w 532120"/>
                <a:gd name="connsiteY91" fmla="*/ 171512 h 446582"/>
                <a:gd name="connsiteX92" fmla="*/ 414574 w 532120"/>
                <a:gd name="connsiteY92" fmla="*/ 185076 h 446582"/>
                <a:gd name="connsiteX93" fmla="*/ 384856 w 532120"/>
                <a:gd name="connsiteY93" fmla="*/ 222413 h 446582"/>
                <a:gd name="connsiteX94" fmla="*/ 384856 w 532120"/>
                <a:gd name="connsiteY94" fmla="*/ 222413 h 446582"/>
                <a:gd name="connsiteX95" fmla="*/ 434995 w 532120"/>
                <a:gd name="connsiteY95" fmla="*/ 235672 h 446582"/>
                <a:gd name="connsiteX96" fmla="*/ 434995 w 532120"/>
                <a:gd name="connsiteY96" fmla="*/ 224395 h 446582"/>
                <a:gd name="connsiteX97" fmla="*/ 444444 w 532120"/>
                <a:gd name="connsiteY97" fmla="*/ 234301 h 446582"/>
                <a:gd name="connsiteX98" fmla="*/ 459684 w 532120"/>
                <a:gd name="connsiteY98" fmla="*/ 226071 h 446582"/>
                <a:gd name="connsiteX99" fmla="*/ 456331 w 532120"/>
                <a:gd name="connsiteY99" fmla="*/ 203973 h 446582"/>
                <a:gd name="connsiteX100" fmla="*/ 473553 w 532120"/>
                <a:gd name="connsiteY100" fmla="*/ 208088 h 446582"/>
                <a:gd name="connsiteX101" fmla="*/ 473553 w 532120"/>
                <a:gd name="connsiteY101" fmla="*/ 206716 h 446582"/>
                <a:gd name="connsiteX102" fmla="*/ 468981 w 532120"/>
                <a:gd name="connsiteY102" fmla="*/ 187057 h 446582"/>
                <a:gd name="connsiteX103" fmla="*/ 480929 w 532120"/>
                <a:gd name="connsiteY103" fmla="*/ 185380 h 446582"/>
                <a:gd name="connsiteX104" fmla="*/ 482544 w 532120"/>
                <a:gd name="connsiteY104" fmla="*/ 181570 h 446582"/>
                <a:gd name="connsiteX105" fmla="*/ 431795 w 532120"/>
                <a:gd name="connsiteY105" fmla="*/ 138136 h 446582"/>
                <a:gd name="connsiteX106" fmla="*/ 418689 w 532120"/>
                <a:gd name="connsiteY106" fmla="*/ 142251 h 446582"/>
                <a:gd name="connsiteX107" fmla="*/ 431490 w 532120"/>
                <a:gd name="connsiteY107" fmla="*/ 136917 h 446582"/>
                <a:gd name="connsiteX108" fmla="*/ 265222 w 532120"/>
                <a:gd name="connsiteY108" fmla="*/ 5396 h 446582"/>
                <a:gd name="connsiteX109" fmla="*/ 266746 w 532120"/>
                <a:gd name="connsiteY109" fmla="*/ 10120 h 446582"/>
                <a:gd name="connsiteX110" fmla="*/ 266746 w 532120"/>
                <a:gd name="connsiteY110" fmla="*/ 13778 h 446582"/>
                <a:gd name="connsiteX111" fmla="*/ 263088 w 532120"/>
                <a:gd name="connsiteY111" fmla="*/ 13778 h 446582"/>
                <a:gd name="connsiteX112" fmla="*/ 258364 w 532120"/>
                <a:gd name="connsiteY112" fmla="*/ 12254 h 446582"/>
                <a:gd name="connsiteX113" fmla="*/ 253182 w 532120"/>
                <a:gd name="connsiteY113" fmla="*/ 16369 h 446582"/>
                <a:gd name="connsiteX114" fmla="*/ 258150 w 532120"/>
                <a:gd name="connsiteY114" fmla="*/ 20514 h 446582"/>
                <a:gd name="connsiteX115" fmla="*/ 258364 w 532120"/>
                <a:gd name="connsiteY115" fmla="*/ 20483 h 446582"/>
                <a:gd name="connsiteX116" fmla="*/ 263088 w 532120"/>
                <a:gd name="connsiteY116" fmla="*/ 18959 h 446582"/>
                <a:gd name="connsiteX117" fmla="*/ 266746 w 532120"/>
                <a:gd name="connsiteY117" fmla="*/ 18959 h 446582"/>
                <a:gd name="connsiteX118" fmla="*/ 265679 w 532120"/>
                <a:gd name="connsiteY118" fmla="*/ 31761 h 446582"/>
                <a:gd name="connsiteX119" fmla="*/ 257297 w 532120"/>
                <a:gd name="connsiteY119" fmla="*/ 40143 h 446582"/>
                <a:gd name="connsiteX120" fmla="*/ 268880 w 532120"/>
                <a:gd name="connsiteY120" fmla="*/ 53097 h 446582"/>
                <a:gd name="connsiteX121" fmla="*/ 280462 w 532120"/>
                <a:gd name="connsiteY121" fmla="*/ 40143 h 446582"/>
                <a:gd name="connsiteX122" fmla="*/ 272079 w 532120"/>
                <a:gd name="connsiteY122" fmla="*/ 31761 h 446582"/>
                <a:gd name="connsiteX123" fmla="*/ 271013 w 532120"/>
                <a:gd name="connsiteY123" fmla="*/ 18959 h 446582"/>
                <a:gd name="connsiteX124" fmla="*/ 274671 w 532120"/>
                <a:gd name="connsiteY124" fmla="*/ 18959 h 446582"/>
                <a:gd name="connsiteX125" fmla="*/ 279395 w 532120"/>
                <a:gd name="connsiteY125" fmla="*/ 20483 h 446582"/>
                <a:gd name="connsiteX126" fmla="*/ 284394 w 532120"/>
                <a:gd name="connsiteY126" fmla="*/ 16719 h 446582"/>
                <a:gd name="connsiteX127" fmla="*/ 284424 w 532120"/>
                <a:gd name="connsiteY127" fmla="*/ 16369 h 446582"/>
                <a:gd name="connsiteX128" fmla="*/ 279441 w 532120"/>
                <a:gd name="connsiteY128" fmla="*/ 12254 h 446582"/>
                <a:gd name="connsiteX129" fmla="*/ 279395 w 532120"/>
                <a:gd name="connsiteY129" fmla="*/ 12254 h 446582"/>
                <a:gd name="connsiteX130" fmla="*/ 274671 w 532120"/>
                <a:gd name="connsiteY130" fmla="*/ 13778 h 446582"/>
                <a:gd name="connsiteX131" fmla="*/ 271013 w 532120"/>
                <a:gd name="connsiteY131" fmla="*/ 13778 h 446582"/>
                <a:gd name="connsiteX132" fmla="*/ 271013 w 532120"/>
                <a:gd name="connsiteY132" fmla="*/ 10120 h 446582"/>
                <a:gd name="connsiteX133" fmla="*/ 272537 w 532120"/>
                <a:gd name="connsiteY133" fmla="*/ 5396 h 446582"/>
                <a:gd name="connsiteX134" fmla="*/ 269550 w 532120"/>
                <a:gd name="connsiteY134" fmla="*/ 153 h 446582"/>
                <a:gd name="connsiteX135" fmla="*/ 264308 w 532120"/>
                <a:gd name="connsiteY135" fmla="*/ 3140 h 446582"/>
                <a:gd name="connsiteX136" fmla="*/ 264308 w 532120"/>
                <a:gd name="connsiteY136" fmla="*/ 5396 h 446582"/>
                <a:gd name="connsiteX137" fmla="*/ 269336 w 532120"/>
                <a:gd name="connsiteY137" fmla="*/ 55840 h 446582"/>
                <a:gd name="connsiteX138" fmla="*/ 261107 w 532120"/>
                <a:gd name="connsiteY138" fmla="*/ 64070 h 446582"/>
                <a:gd name="connsiteX139" fmla="*/ 269336 w 532120"/>
                <a:gd name="connsiteY139" fmla="*/ 72299 h 446582"/>
                <a:gd name="connsiteX140" fmla="*/ 277567 w 532120"/>
                <a:gd name="connsiteY140" fmla="*/ 64070 h 446582"/>
                <a:gd name="connsiteX141" fmla="*/ 270663 w 532120"/>
                <a:gd name="connsiteY141" fmla="*/ 54697 h 446582"/>
                <a:gd name="connsiteX142" fmla="*/ 269032 w 532120"/>
                <a:gd name="connsiteY142" fmla="*/ 54621 h 446582"/>
                <a:gd name="connsiteX143" fmla="*/ 269336 w 532120"/>
                <a:gd name="connsiteY143" fmla="*/ 135393 h 446582"/>
                <a:gd name="connsiteX144" fmla="*/ 321153 w 532120"/>
                <a:gd name="connsiteY144" fmla="*/ 141794 h 446582"/>
                <a:gd name="connsiteX145" fmla="*/ 330907 w 532120"/>
                <a:gd name="connsiteY145" fmla="*/ 117105 h 446582"/>
                <a:gd name="connsiteX146" fmla="*/ 348128 w 532120"/>
                <a:gd name="connsiteY146" fmla="*/ 79158 h 446582"/>
                <a:gd name="connsiteX147" fmla="*/ 337155 w 532120"/>
                <a:gd name="connsiteY147" fmla="*/ 65746 h 446582"/>
                <a:gd name="connsiteX148" fmla="*/ 324505 w 532120"/>
                <a:gd name="connsiteY148" fmla="*/ 70623 h 446582"/>
                <a:gd name="connsiteX149" fmla="*/ 322829 w 532120"/>
                <a:gd name="connsiteY149" fmla="*/ 70623 h 446582"/>
                <a:gd name="connsiteX150" fmla="*/ 327553 w 532120"/>
                <a:gd name="connsiteY150" fmla="*/ 76414 h 446582"/>
                <a:gd name="connsiteX151" fmla="*/ 334411 w 532120"/>
                <a:gd name="connsiteY151" fmla="*/ 72452 h 446582"/>
                <a:gd name="connsiteX152" fmla="*/ 337460 w 532120"/>
                <a:gd name="connsiteY152" fmla="*/ 77481 h 446582"/>
                <a:gd name="connsiteX153" fmla="*/ 326334 w 532120"/>
                <a:gd name="connsiteY153" fmla="*/ 100646 h 446582"/>
                <a:gd name="connsiteX154" fmla="*/ 320848 w 532120"/>
                <a:gd name="connsiteY154" fmla="*/ 97598 h 446582"/>
                <a:gd name="connsiteX155" fmla="*/ 314142 w 532120"/>
                <a:gd name="connsiteY155" fmla="*/ 105828 h 446582"/>
                <a:gd name="connsiteX156" fmla="*/ 315056 w 532120"/>
                <a:gd name="connsiteY156" fmla="*/ 110247 h 446582"/>
                <a:gd name="connsiteX157" fmla="*/ 309875 w 532120"/>
                <a:gd name="connsiteY157" fmla="*/ 112076 h 446582"/>
                <a:gd name="connsiteX158" fmla="*/ 303124 w 532120"/>
                <a:gd name="connsiteY158" fmla="*/ 106376 h 446582"/>
                <a:gd name="connsiteX159" fmla="*/ 303170 w 532120"/>
                <a:gd name="connsiteY159" fmla="*/ 104913 h 446582"/>
                <a:gd name="connsiteX160" fmla="*/ 320848 w 532120"/>
                <a:gd name="connsiteY160" fmla="*/ 63156 h 446582"/>
                <a:gd name="connsiteX161" fmla="*/ 306446 w 532120"/>
                <a:gd name="connsiteY161" fmla="*/ 47123 h 446582"/>
                <a:gd name="connsiteX162" fmla="*/ 304389 w 532120"/>
                <a:gd name="connsiteY162" fmla="*/ 47153 h 446582"/>
                <a:gd name="connsiteX163" fmla="*/ 284120 w 532120"/>
                <a:gd name="connsiteY163" fmla="*/ 58126 h 446582"/>
                <a:gd name="connsiteX164" fmla="*/ 283205 w 532120"/>
                <a:gd name="connsiteY164" fmla="*/ 58126 h 446582"/>
                <a:gd name="connsiteX165" fmla="*/ 290368 w 532120"/>
                <a:gd name="connsiteY165" fmla="*/ 64984 h 446582"/>
                <a:gd name="connsiteX166" fmla="*/ 302865 w 532120"/>
                <a:gd name="connsiteY166" fmla="*/ 54926 h 446582"/>
                <a:gd name="connsiteX167" fmla="*/ 307741 w 532120"/>
                <a:gd name="connsiteY167" fmla="*/ 62851 h 446582"/>
                <a:gd name="connsiteX168" fmla="*/ 301341 w 532120"/>
                <a:gd name="connsiteY168" fmla="*/ 84796 h 446582"/>
                <a:gd name="connsiteX169" fmla="*/ 296159 w 532120"/>
                <a:gd name="connsiteY169" fmla="*/ 82358 h 446582"/>
                <a:gd name="connsiteX170" fmla="*/ 288386 w 532120"/>
                <a:gd name="connsiteY170" fmla="*/ 91807 h 446582"/>
                <a:gd name="connsiteX171" fmla="*/ 291892 w 532120"/>
                <a:gd name="connsiteY171" fmla="*/ 100341 h 446582"/>
                <a:gd name="connsiteX172" fmla="*/ 283053 w 532120"/>
                <a:gd name="connsiteY172" fmla="*/ 106437 h 446582"/>
                <a:gd name="connsiteX173" fmla="*/ 272537 w 532120"/>
                <a:gd name="connsiteY173" fmla="*/ 97903 h 446582"/>
                <a:gd name="connsiteX174" fmla="*/ 281377 w 532120"/>
                <a:gd name="connsiteY174" fmla="*/ 83882 h 446582"/>
                <a:gd name="connsiteX175" fmla="*/ 274899 w 532120"/>
                <a:gd name="connsiteY175" fmla="*/ 75820 h 446582"/>
                <a:gd name="connsiteX176" fmla="*/ 274823 w 532120"/>
                <a:gd name="connsiteY176" fmla="*/ 75805 h 446582"/>
                <a:gd name="connsiteX177" fmla="*/ 263850 w 532120"/>
                <a:gd name="connsiteY177" fmla="*/ 75805 h 446582"/>
                <a:gd name="connsiteX178" fmla="*/ 257297 w 532120"/>
                <a:gd name="connsiteY178" fmla="*/ 83806 h 446582"/>
                <a:gd name="connsiteX179" fmla="*/ 257297 w 532120"/>
                <a:gd name="connsiteY179" fmla="*/ 83882 h 446582"/>
                <a:gd name="connsiteX180" fmla="*/ 265984 w 532120"/>
                <a:gd name="connsiteY180" fmla="*/ 97903 h 446582"/>
                <a:gd name="connsiteX181" fmla="*/ 255621 w 532120"/>
                <a:gd name="connsiteY181" fmla="*/ 106437 h 446582"/>
                <a:gd name="connsiteX182" fmla="*/ 246781 w 532120"/>
                <a:gd name="connsiteY182" fmla="*/ 100341 h 446582"/>
                <a:gd name="connsiteX183" fmla="*/ 250286 w 532120"/>
                <a:gd name="connsiteY183" fmla="*/ 91807 h 446582"/>
                <a:gd name="connsiteX184" fmla="*/ 242971 w 532120"/>
                <a:gd name="connsiteY184" fmla="*/ 82053 h 446582"/>
                <a:gd name="connsiteX185" fmla="*/ 237789 w 532120"/>
                <a:gd name="connsiteY185" fmla="*/ 84492 h 446582"/>
                <a:gd name="connsiteX186" fmla="*/ 231389 w 532120"/>
                <a:gd name="connsiteY186" fmla="*/ 62546 h 446582"/>
                <a:gd name="connsiteX187" fmla="*/ 236113 w 532120"/>
                <a:gd name="connsiteY187" fmla="*/ 54621 h 446582"/>
                <a:gd name="connsiteX188" fmla="*/ 248610 w 532120"/>
                <a:gd name="connsiteY188" fmla="*/ 64679 h 446582"/>
                <a:gd name="connsiteX189" fmla="*/ 255925 w 532120"/>
                <a:gd name="connsiteY189" fmla="*/ 57822 h 446582"/>
                <a:gd name="connsiteX190" fmla="*/ 255011 w 532120"/>
                <a:gd name="connsiteY190" fmla="*/ 57822 h 446582"/>
                <a:gd name="connsiteX191" fmla="*/ 234742 w 532120"/>
                <a:gd name="connsiteY191" fmla="*/ 46849 h 446582"/>
                <a:gd name="connsiteX192" fmla="*/ 218313 w 532120"/>
                <a:gd name="connsiteY192" fmla="*/ 60794 h 446582"/>
                <a:gd name="connsiteX193" fmla="*/ 218283 w 532120"/>
                <a:gd name="connsiteY193" fmla="*/ 62851 h 446582"/>
                <a:gd name="connsiteX194" fmla="*/ 235961 w 532120"/>
                <a:gd name="connsiteY194" fmla="*/ 104609 h 446582"/>
                <a:gd name="connsiteX195" fmla="*/ 230383 w 532120"/>
                <a:gd name="connsiteY195" fmla="*/ 111741 h 446582"/>
                <a:gd name="connsiteX196" fmla="*/ 229255 w 532120"/>
                <a:gd name="connsiteY196" fmla="*/ 111771 h 446582"/>
                <a:gd name="connsiteX197" fmla="*/ 224074 w 532120"/>
                <a:gd name="connsiteY197" fmla="*/ 109942 h 446582"/>
                <a:gd name="connsiteX198" fmla="*/ 224988 w 532120"/>
                <a:gd name="connsiteY198" fmla="*/ 105523 h 446582"/>
                <a:gd name="connsiteX199" fmla="*/ 218283 w 532120"/>
                <a:gd name="connsiteY199" fmla="*/ 97293 h 446582"/>
                <a:gd name="connsiteX200" fmla="*/ 212797 w 532120"/>
                <a:gd name="connsiteY200" fmla="*/ 100341 h 446582"/>
                <a:gd name="connsiteX201" fmla="*/ 201519 w 532120"/>
                <a:gd name="connsiteY201" fmla="*/ 77176 h 446582"/>
                <a:gd name="connsiteX202" fmla="*/ 204719 w 532120"/>
                <a:gd name="connsiteY202" fmla="*/ 72147 h 446582"/>
                <a:gd name="connsiteX203" fmla="*/ 211577 w 532120"/>
                <a:gd name="connsiteY203" fmla="*/ 76109 h 446582"/>
                <a:gd name="connsiteX204" fmla="*/ 216301 w 532120"/>
                <a:gd name="connsiteY204" fmla="*/ 70319 h 446582"/>
                <a:gd name="connsiteX205" fmla="*/ 214625 w 532120"/>
                <a:gd name="connsiteY205" fmla="*/ 70319 h 446582"/>
                <a:gd name="connsiteX206" fmla="*/ 201976 w 532120"/>
                <a:gd name="connsiteY206" fmla="*/ 65442 h 446582"/>
                <a:gd name="connsiteX207" fmla="*/ 190851 w 532120"/>
                <a:gd name="connsiteY207" fmla="*/ 78853 h 446582"/>
                <a:gd name="connsiteX208" fmla="*/ 208224 w 532120"/>
                <a:gd name="connsiteY208" fmla="*/ 116800 h 446582"/>
                <a:gd name="connsiteX209" fmla="*/ 217978 w 532120"/>
                <a:gd name="connsiteY209" fmla="*/ 141489 h 446582"/>
                <a:gd name="connsiteX210" fmla="*/ 269032 w 532120"/>
                <a:gd name="connsiteY210" fmla="*/ 134174 h 446582"/>
                <a:gd name="connsiteX211" fmla="*/ 208376 w 532120"/>
                <a:gd name="connsiteY211" fmla="*/ 160234 h 446582"/>
                <a:gd name="connsiteX212" fmla="*/ 190089 w 532120"/>
                <a:gd name="connsiteY212" fmla="*/ 164959 h 446582"/>
                <a:gd name="connsiteX213" fmla="*/ 195270 w 532120"/>
                <a:gd name="connsiteY213" fmla="*/ 156424 h 446582"/>
                <a:gd name="connsiteX214" fmla="*/ 195270 w 532120"/>
                <a:gd name="connsiteY214" fmla="*/ 155358 h 446582"/>
                <a:gd name="connsiteX215" fmla="*/ 182773 w 532120"/>
                <a:gd name="connsiteY215" fmla="*/ 160692 h 446582"/>
                <a:gd name="connsiteX216" fmla="*/ 175611 w 532120"/>
                <a:gd name="connsiteY216" fmla="*/ 165111 h 446582"/>
                <a:gd name="connsiteX217" fmla="*/ 143150 w 532120"/>
                <a:gd name="connsiteY217" fmla="*/ 184009 h 446582"/>
                <a:gd name="connsiteX218" fmla="*/ 158390 w 532120"/>
                <a:gd name="connsiteY218" fmla="*/ 201687 h 446582"/>
                <a:gd name="connsiteX219" fmla="*/ 177287 w 532120"/>
                <a:gd name="connsiteY219" fmla="*/ 186447 h 446582"/>
                <a:gd name="connsiteX220" fmla="*/ 180335 w 532120"/>
                <a:gd name="connsiteY220" fmla="*/ 190562 h 446582"/>
                <a:gd name="connsiteX221" fmla="*/ 181250 w 532120"/>
                <a:gd name="connsiteY221" fmla="*/ 190562 h 446582"/>
                <a:gd name="connsiteX222" fmla="*/ 182926 w 532120"/>
                <a:gd name="connsiteY222" fmla="*/ 181266 h 446582"/>
                <a:gd name="connsiteX223" fmla="*/ 187147 w 532120"/>
                <a:gd name="connsiteY223" fmla="*/ 175017 h 446582"/>
                <a:gd name="connsiteX224" fmla="*/ 189174 w 532120"/>
                <a:gd name="connsiteY224" fmla="*/ 175017 h 446582"/>
                <a:gd name="connsiteX225" fmla="*/ 189174 w 532120"/>
                <a:gd name="connsiteY225" fmla="*/ 251979 h 446582"/>
                <a:gd name="connsiteX226" fmla="*/ 185974 w 532120"/>
                <a:gd name="connsiteY226" fmla="*/ 251979 h 446582"/>
                <a:gd name="connsiteX227" fmla="*/ 160523 w 532120"/>
                <a:gd name="connsiteY227" fmla="*/ 233691 h 446582"/>
                <a:gd name="connsiteX228" fmla="*/ 126081 w 532120"/>
                <a:gd name="connsiteY228" fmla="*/ 238111 h 446582"/>
                <a:gd name="connsiteX229" fmla="*/ 87523 w 532120"/>
                <a:gd name="connsiteY229" fmla="*/ 239025 h 446582"/>
                <a:gd name="connsiteX230" fmla="*/ 65273 w 532120"/>
                <a:gd name="connsiteY230" fmla="*/ 284745 h 446582"/>
                <a:gd name="connsiteX231" fmla="*/ 51252 w 532120"/>
                <a:gd name="connsiteY231" fmla="*/ 287641 h 446582"/>
                <a:gd name="connsiteX232" fmla="*/ 36012 w 532120"/>
                <a:gd name="connsiteY232" fmla="*/ 275449 h 446582"/>
                <a:gd name="connsiteX233" fmla="*/ 60549 w 532120"/>
                <a:gd name="connsiteY233" fmla="*/ 228357 h 446582"/>
                <a:gd name="connsiteX234" fmla="*/ 37673 w 532120"/>
                <a:gd name="connsiteY234" fmla="*/ 204613 h 446582"/>
                <a:gd name="connsiteX235" fmla="*/ 34793 w 532120"/>
                <a:gd name="connsiteY235" fmla="*/ 204735 h 446582"/>
                <a:gd name="connsiteX236" fmla="*/ 14371 w 532120"/>
                <a:gd name="connsiteY236" fmla="*/ 204735 h 446582"/>
                <a:gd name="connsiteX237" fmla="*/ 2027 w 532120"/>
                <a:gd name="connsiteY237" fmla="*/ 195896 h 446582"/>
                <a:gd name="connsiteX238" fmla="*/ 1113 w 532120"/>
                <a:gd name="connsiteY238" fmla="*/ 195896 h 446582"/>
                <a:gd name="connsiteX239" fmla="*/ 46 w 532120"/>
                <a:gd name="connsiteY239" fmla="*/ 204735 h 446582"/>
                <a:gd name="connsiteX240" fmla="*/ 10561 w 532120"/>
                <a:gd name="connsiteY240" fmla="*/ 217293 h 446582"/>
                <a:gd name="connsiteX241" fmla="*/ 13152 w 532120"/>
                <a:gd name="connsiteY241" fmla="*/ 217232 h 446582"/>
                <a:gd name="connsiteX242" fmla="*/ 21991 w 532120"/>
                <a:gd name="connsiteY242" fmla="*/ 215403 h 446582"/>
                <a:gd name="connsiteX243" fmla="*/ 21991 w 532120"/>
                <a:gd name="connsiteY243" fmla="*/ 216165 h 446582"/>
                <a:gd name="connsiteX244" fmla="*/ 19553 w 532120"/>
                <a:gd name="connsiteY244" fmla="*/ 230643 h 446582"/>
                <a:gd name="connsiteX245" fmla="*/ 20468 w 532120"/>
                <a:gd name="connsiteY245" fmla="*/ 230643 h 446582"/>
                <a:gd name="connsiteX246" fmla="*/ 40584 w 532120"/>
                <a:gd name="connsiteY246" fmla="*/ 214641 h 446582"/>
                <a:gd name="connsiteX247" fmla="*/ 53309 w 532120"/>
                <a:gd name="connsiteY247" fmla="*/ 225294 h 446582"/>
                <a:gd name="connsiteX248" fmla="*/ 53233 w 532120"/>
                <a:gd name="connsiteY248" fmla="*/ 228052 h 446582"/>
                <a:gd name="connsiteX249" fmla="*/ 25801 w 532120"/>
                <a:gd name="connsiteY249" fmla="*/ 276668 h 446582"/>
                <a:gd name="connsiteX250" fmla="*/ 62225 w 532120"/>
                <a:gd name="connsiteY250" fmla="*/ 299680 h 446582"/>
                <a:gd name="connsiteX251" fmla="*/ 35708 w 532120"/>
                <a:gd name="connsiteY251" fmla="*/ 313396 h 446582"/>
                <a:gd name="connsiteX252" fmla="*/ 34641 w 532120"/>
                <a:gd name="connsiteY252" fmla="*/ 313396 h 446582"/>
                <a:gd name="connsiteX253" fmla="*/ 42413 w 532120"/>
                <a:gd name="connsiteY253" fmla="*/ 330160 h 446582"/>
                <a:gd name="connsiteX254" fmla="*/ 42413 w 532120"/>
                <a:gd name="connsiteY254" fmla="*/ 331075 h 446582"/>
                <a:gd name="connsiteX255" fmla="*/ 38451 w 532120"/>
                <a:gd name="connsiteY255" fmla="*/ 368413 h 446582"/>
                <a:gd name="connsiteX256" fmla="*/ 28239 w 532120"/>
                <a:gd name="connsiteY256" fmla="*/ 377099 h 446582"/>
                <a:gd name="connsiteX257" fmla="*/ 28239 w 532120"/>
                <a:gd name="connsiteY257" fmla="*/ 377862 h 446582"/>
                <a:gd name="connsiteX258" fmla="*/ 43739 w 532120"/>
                <a:gd name="connsiteY258" fmla="*/ 378517 h 446582"/>
                <a:gd name="connsiteX259" fmla="*/ 44394 w 532120"/>
                <a:gd name="connsiteY259" fmla="*/ 377862 h 446582"/>
                <a:gd name="connsiteX260" fmla="*/ 42413 w 532120"/>
                <a:gd name="connsiteY260" fmla="*/ 388682 h 446582"/>
                <a:gd name="connsiteX261" fmla="*/ 42413 w 532120"/>
                <a:gd name="connsiteY261" fmla="*/ 389749 h 446582"/>
                <a:gd name="connsiteX262" fmla="*/ 55672 w 532120"/>
                <a:gd name="connsiteY262" fmla="*/ 382433 h 446582"/>
                <a:gd name="connsiteX263" fmla="*/ 68473 w 532120"/>
                <a:gd name="connsiteY263" fmla="*/ 385177 h 446582"/>
                <a:gd name="connsiteX264" fmla="*/ 81275 w 532120"/>
                <a:gd name="connsiteY264" fmla="*/ 391578 h 446582"/>
                <a:gd name="connsiteX265" fmla="*/ 82037 w 532120"/>
                <a:gd name="connsiteY265" fmla="*/ 391578 h 446582"/>
                <a:gd name="connsiteX266" fmla="*/ 82052 w 532120"/>
                <a:gd name="connsiteY266" fmla="*/ 378868 h 446582"/>
                <a:gd name="connsiteX267" fmla="*/ 77160 w 532120"/>
                <a:gd name="connsiteY267" fmla="*/ 376338 h 446582"/>
                <a:gd name="connsiteX268" fmla="*/ 87721 w 532120"/>
                <a:gd name="connsiteY268" fmla="*/ 376414 h 446582"/>
                <a:gd name="connsiteX269" fmla="*/ 88743 w 532120"/>
                <a:gd name="connsiteY269" fmla="*/ 377709 h 446582"/>
                <a:gd name="connsiteX270" fmla="*/ 89504 w 532120"/>
                <a:gd name="connsiteY270" fmla="*/ 377709 h 446582"/>
                <a:gd name="connsiteX271" fmla="*/ 74264 w 532120"/>
                <a:gd name="connsiteY271" fmla="*/ 369937 h 446582"/>
                <a:gd name="connsiteX272" fmla="*/ 81275 w 532120"/>
                <a:gd name="connsiteY272" fmla="*/ 362469 h 446582"/>
                <a:gd name="connsiteX273" fmla="*/ 81275 w 532120"/>
                <a:gd name="connsiteY273" fmla="*/ 361555 h 446582"/>
                <a:gd name="connsiteX274" fmla="*/ 68991 w 532120"/>
                <a:gd name="connsiteY274" fmla="*/ 359223 h 446582"/>
                <a:gd name="connsiteX275" fmla="*/ 66035 w 532120"/>
                <a:gd name="connsiteY275" fmla="*/ 362622 h 446582"/>
                <a:gd name="connsiteX276" fmla="*/ 53995 w 532120"/>
                <a:gd name="connsiteY276" fmla="*/ 364755 h 446582"/>
                <a:gd name="connsiteX277" fmla="*/ 97430 w 532120"/>
                <a:gd name="connsiteY277" fmla="*/ 319035 h 446582"/>
                <a:gd name="connsiteX278" fmla="*/ 98191 w 532120"/>
                <a:gd name="connsiteY278" fmla="*/ 319035 h 446582"/>
                <a:gd name="connsiteX279" fmla="*/ 113431 w 532120"/>
                <a:gd name="connsiteY279" fmla="*/ 315073 h 446582"/>
                <a:gd name="connsiteX280" fmla="*/ 113431 w 532120"/>
                <a:gd name="connsiteY280" fmla="*/ 315073 h 446582"/>
                <a:gd name="connsiteX281" fmla="*/ 111603 w 532120"/>
                <a:gd name="connsiteY281" fmla="*/ 266609 h 446582"/>
                <a:gd name="connsiteX282" fmla="*/ 172563 w 532120"/>
                <a:gd name="connsiteY282" fmla="*/ 264019 h 446582"/>
                <a:gd name="connsiteX283" fmla="*/ 169926 w 532120"/>
                <a:gd name="connsiteY283" fmla="*/ 268712 h 446582"/>
                <a:gd name="connsiteX284" fmla="*/ 169820 w 532120"/>
                <a:gd name="connsiteY284" fmla="*/ 268743 h 446582"/>
                <a:gd name="connsiteX285" fmla="*/ 169820 w 532120"/>
                <a:gd name="connsiteY285" fmla="*/ 268743 h 446582"/>
                <a:gd name="connsiteX286" fmla="*/ 177896 w 532120"/>
                <a:gd name="connsiteY286" fmla="*/ 267067 h 446582"/>
                <a:gd name="connsiteX287" fmla="*/ 176373 w 532120"/>
                <a:gd name="connsiteY287" fmla="*/ 277735 h 446582"/>
                <a:gd name="connsiteX288" fmla="*/ 176373 w 532120"/>
                <a:gd name="connsiteY288" fmla="*/ 278497 h 446582"/>
                <a:gd name="connsiteX289" fmla="*/ 186431 w 532120"/>
                <a:gd name="connsiteY289" fmla="*/ 270877 h 446582"/>
                <a:gd name="connsiteX290" fmla="*/ 187345 w 532120"/>
                <a:gd name="connsiteY290" fmla="*/ 270877 h 446582"/>
                <a:gd name="connsiteX291" fmla="*/ 187345 w 532120"/>
                <a:gd name="connsiteY291" fmla="*/ 295413 h 446582"/>
                <a:gd name="connsiteX292" fmla="*/ 267203 w 532120"/>
                <a:gd name="connsiteY292" fmla="*/ 361098 h 446582"/>
                <a:gd name="connsiteX293" fmla="*/ 347061 w 532120"/>
                <a:gd name="connsiteY293" fmla="*/ 295413 h 446582"/>
                <a:gd name="connsiteX294" fmla="*/ 347061 w 532120"/>
                <a:gd name="connsiteY294" fmla="*/ 272249 h 446582"/>
                <a:gd name="connsiteX295" fmla="*/ 347975 w 532120"/>
                <a:gd name="connsiteY295" fmla="*/ 272249 h 446582"/>
                <a:gd name="connsiteX296" fmla="*/ 358033 w 532120"/>
                <a:gd name="connsiteY296" fmla="*/ 279869 h 446582"/>
                <a:gd name="connsiteX297" fmla="*/ 358033 w 532120"/>
                <a:gd name="connsiteY297" fmla="*/ 279106 h 446582"/>
                <a:gd name="connsiteX298" fmla="*/ 356510 w 532120"/>
                <a:gd name="connsiteY298" fmla="*/ 268439 h 446582"/>
                <a:gd name="connsiteX299" fmla="*/ 364586 w 532120"/>
                <a:gd name="connsiteY299" fmla="*/ 270115 h 446582"/>
                <a:gd name="connsiteX300" fmla="*/ 364586 w 532120"/>
                <a:gd name="connsiteY300" fmla="*/ 270115 h 446582"/>
                <a:gd name="connsiteX301" fmla="*/ 361996 w 532120"/>
                <a:gd name="connsiteY301" fmla="*/ 265390 h 446582"/>
                <a:gd name="connsiteX302" fmla="*/ 422956 w 532120"/>
                <a:gd name="connsiteY302" fmla="*/ 267981 h 446582"/>
                <a:gd name="connsiteX303" fmla="*/ 421127 w 532120"/>
                <a:gd name="connsiteY303" fmla="*/ 316444 h 446582"/>
                <a:gd name="connsiteX304" fmla="*/ 421127 w 532120"/>
                <a:gd name="connsiteY304" fmla="*/ 316444 h 446582"/>
                <a:gd name="connsiteX305" fmla="*/ 436367 w 532120"/>
                <a:gd name="connsiteY305" fmla="*/ 320407 h 446582"/>
                <a:gd name="connsiteX306" fmla="*/ 436367 w 532120"/>
                <a:gd name="connsiteY306" fmla="*/ 320407 h 446582"/>
                <a:gd name="connsiteX307" fmla="*/ 479801 w 532120"/>
                <a:gd name="connsiteY307" fmla="*/ 366127 h 446582"/>
                <a:gd name="connsiteX308" fmla="*/ 467761 w 532120"/>
                <a:gd name="connsiteY308" fmla="*/ 363993 h 446582"/>
                <a:gd name="connsiteX309" fmla="*/ 455935 w 532120"/>
                <a:gd name="connsiteY309" fmla="*/ 359970 h 446582"/>
                <a:gd name="connsiteX310" fmla="*/ 452521 w 532120"/>
                <a:gd name="connsiteY310" fmla="*/ 362926 h 446582"/>
                <a:gd name="connsiteX311" fmla="*/ 452521 w 532120"/>
                <a:gd name="connsiteY311" fmla="*/ 363841 h 446582"/>
                <a:gd name="connsiteX312" fmla="*/ 459380 w 532120"/>
                <a:gd name="connsiteY312" fmla="*/ 371309 h 446582"/>
                <a:gd name="connsiteX313" fmla="*/ 444140 w 532120"/>
                <a:gd name="connsiteY313" fmla="*/ 379081 h 446582"/>
                <a:gd name="connsiteX314" fmla="*/ 444140 w 532120"/>
                <a:gd name="connsiteY314" fmla="*/ 379081 h 446582"/>
                <a:gd name="connsiteX315" fmla="*/ 454426 w 532120"/>
                <a:gd name="connsiteY315" fmla="*/ 376688 h 446582"/>
                <a:gd name="connsiteX316" fmla="*/ 455722 w 532120"/>
                <a:gd name="connsiteY316" fmla="*/ 377709 h 446582"/>
                <a:gd name="connsiteX317" fmla="*/ 448315 w 532120"/>
                <a:gd name="connsiteY317" fmla="*/ 388042 h 446582"/>
                <a:gd name="connsiteX318" fmla="*/ 450845 w 532120"/>
                <a:gd name="connsiteY318" fmla="*/ 392949 h 446582"/>
                <a:gd name="connsiteX319" fmla="*/ 450845 w 532120"/>
                <a:gd name="connsiteY319" fmla="*/ 392949 h 446582"/>
                <a:gd name="connsiteX320" fmla="*/ 463646 w 532120"/>
                <a:gd name="connsiteY320" fmla="*/ 386549 h 446582"/>
                <a:gd name="connsiteX321" fmla="*/ 476448 w 532120"/>
                <a:gd name="connsiteY321" fmla="*/ 383805 h 446582"/>
                <a:gd name="connsiteX322" fmla="*/ 489707 w 532120"/>
                <a:gd name="connsiteY322" fmla="*/ 391120 h 446582"/>
                <a:gd name="connsiteX323" fmla="*/ 489707 w 532120"/>
                <a:gd name="connsiteY323" fmla="*/ 390053 h 446582"/>
                <a:gd name="connsiteX324" fmla="*/ 487726 w 532120"/>
                <a:gd name="connsiteY324" fmla="*/ 379233 h 446582"/>
                <a:gd name="connsiteX325" fmla="*/ 503225 w 532120"/>
                <a:gd name="connsiteY325" fmla="*/ 379889 h 446582"/>
                <a:gd name="connsiteX326" fmla="*/ 503880 w 532120"/>
                <a:gd name="connsiteY326" fmla="*/ 379233 h 446582"/>
                <a:gd name="connsiteX327" fmla="*/ 503880 w 532120"/>
                <a:gd name="connsiteY327" fmla="*/ 378471 h 446582"/>
                <a:gd name="connsiteX328" fmla="*/ 493670 w 532120"/>
                <a:gd name="connsiteY328" fmla="*/ 369784 h 446582"/>
                <a:gd name="connsiteX329" fmla="*/ 489707 w 532120"/>
                <a:gd name="connsiteY329" fmla="*/ 332446 h 446582"/>
                <a:gd name="connsiteX330" fmla="*/ 489707 w 532120"/>
                <a:gd name="connsiteY330" fmla="*/ 331532 h 446582"/>
                <a:gd name="connsiteX331" fmla="*/ 497480 w 532120"/>
                <a:gd name="connsiteY331" fmla="*/ 314768 h 446582"/>
                <a:gd name="connsiteX332" fmla="*/ 496413 w 532120"/>
                <a:gd name="connsiteY332" fmla="*/ 314768 h 446582"/>
                <a:gd name="connsiteX333" fmla="*/ 469895 w 532120"/>
                <a:gd name="connsiteY333" fmla="*/ 301052 h 446582"/>
                <a:gd name="connsiteX334" fmla="*/ 506319 w 532120"/>
                <a:gd name="connsiteY334" fmla="*/ 278039 h 446582"/>
                <a:gd name="connsiteX335" fmla="*/ 478886 w 532120"/>
                <a:gd name="connsiteY335" fmla="*/ 229424 h 446582"/>
                <a:gd name="connsiteX336" fmla="*/ 488778 w 532120"/>
                <a:gd name="connsiteY336" fmla="*/ 216089 h 446582"/>
                <a:gd name="connsiteX337" fmla="*/ 491536 w 532120"/>
                <a:gd name="connsiteY337" fmla="*/ 216013 h 446582"/>
                <a:gd name="connsiteX338" fmla="*/ 511653 w 532120"/>
                <a:gd name="connsiteY338" fmla="*/ 232015 h 446582"/>
                <a:gd name="connsiteX339" fmla="*/ 512567 w 532120"/>
                <a:gd name="connsiteY339" fmla="*/ 232015 h 446582"/>
                <a:gd name="connsiteX340" fmla="*/ 510129 w 532120"/>
                <a:gd name="connsiteY340" fmla="*/ 217537 h 446582"/>
                <a:gd name="connsiteX341" fmla="*/ 510129 w 532120"/>
                <a:gd name="connsiteY341" fmla="*/ 216775 h 446582"/>
                <a:gd name="connsiteX342" fmla="*/ 518968 w 532120"/>
                <a:gd name="connsiteY342" fmla="*/ 218603 h 446582"/>
                <a:gd name="connsiteX343" fmla="*/ 532013 w 532120"/>
                <a:gd name="connsiteY343" fmla="*/ 208698 h 446582"/>
                <a:gd name="connsiteX344" fmla="*/ 532074 w 532120"/>
                <a:gd name="connsiteY344" fmla="*/ 206107 h 446582"/>
                <a:gd name="connsiteX345" fmla="*/ 531008 w 532120"/>
                <a:gd name="connsiteY345" fmla="*/ 197268 h 446582"/>
                <a:gd name="connsiteX346" fmla="*/ 529941 w 532120"/>
                <a:gd name="connsiteY346" fmla="*/ 197268 h 446582"/>
                <a:gd name="connsiteX347" fmla="*/ 517749 w 532120"/>
                <a:gd name="connsiteY347" fmla="*/ 206107 h 446582"/>
                <a:gd name="connsiteX348" fmla="*/ 496718 w 532120"/>
                <a:gd name="connsiteY348" fmla="*/ 206107 h 446582"/>
                <a:gd name="connsiteX349" fmla="*/ 471237 w 532120"/>
                <a:gd name="connsiteY349" fmla="*/ 226696 h 446582"/>
                <a:gd name="connsiteX350" fmla="*/ 471114 w 532120"/>
                <a:gd name="connsiteY350" fmla="*/ 229729 h 446582"/>
                <a:gd name="connsiteX351" fmla="*/ 495651 w 532120"/>
                <a:gd name="connsiteY351" fmla="*/ 276820 h 446582"/>
                <a:gd name="connsiteX352" fmla="*/ 480411 w 532120"/>
                <a:gd name="connsiteY352" fmla="*/ 289012 h 446582"/>
                <a:gd name="connsiteX353" fmla="*/ 466542 w 532120"/>
                <a:gd name="connsiteY353" fmla="*/ 286117 h 446582"/>
                <a:gd name="connsiteX354" fmla="*/ 444292 w 532120"/>
                <a:gd name="connsiteY354" fmla="*/ 240397 h 446582"/>
                <a:gd name="connsiteX355" fmla="*/ 405735 w 532120"/>
                <a:gd name="connsiteY355" fmla="*/ 239482 h 446582"/>
                <a:gd name="connsiteX356" fmla="*/ 371292 w 532120"/>
                <a:gd name="connsiteY356" fmla="*/ 235063 h 446582"/>
                <a:gd name="connsiteX357" fmla="*/ 345841 w 532120"/>
                <a:gd name="connsiteY357" fmla="*/ 253351 h 446582"/>
                <a:gd name="connsiteX358" fmla="*/ 342641 w 532120"/>
                <a:gd name="connsiteY358" fmla="*/ 253351 h 446582"/>
                <a:gd name="connsiteX359" fmla="*/ 342641 w 532120"/>
                <a:gd name="connsiteY359" fmla="*/ 176389 h 446582"/>
                <a:gd name="connsiteX360" fmla="*/ 348890 w 532120"/>
                <a:gd name="connsiteY360" fmla="*/ 180991 h 446582"/>
                <a:gd name="connsiteX361" fmla="*/ 348890 w 532120"/>
                <a:gd name="connsiteY361" fmla="*/ 182637 h 446582"/>
                <a:gd name="connsiteX362" fmla="*/ 350566 w 532120"/>
                <a:gd name="connsiteY362" fmla="*/ 191933 h 446582"/>
                <a:gd name="connsiteX363" fmla="*/ 351480 w 532120"/>
                <a:gd name="connsiteY363" fmla="*/ 191933 h 446582"/>
                <a:gd name="connsiteX364" fmla="*/ 354528 w 532120"/>
                <a:gd name="connsiteY364" fmla="*/ 187819 h 446582"/>
                <a:gd name="connsiteX365" fmla="*/ 373426 w 532120"/>
                <a:gd name="connsiteY365" fmla="*/ 203059 h 446582"/>
                <a:gd name="connsiteX366" fmla="*/ 388666 w 532120"/>
                <a:gd name="connsiteY366" fmla="*/ 185380 h 446582"/>
                <a:gd name="connsiteX367" fmla="*/ 356205 w 532120"/>
                <a:gd name="connsiteY367" fmla="*/ 166483 h 446582"/>
                <a:gd name="connsiteX368" fmla="*/ 349042 w 532120"/>
                <a:gd name="connsiteY368" fmla="*/ 162063 h 446582"/>
                <a:gd name="connsiteX369" fmla="*/ 336545 w 532120"/>
                <a:gd name="connsiteY369" fmla="*/ 156729 h 446582"/>
                <a:gd name="connsiteX370" fmla="*/ 336545 w 532120"/>
                <a:gd name="connsiteY370" fmla="*/ 157796 h 446582"/>
                <a:gd name="connsiteX371" fmla="*/ 341726 w 532120"/>
                <a:gd name="connsiteY371" fmla="*/ 166330 h 446582"/>
                <a:gd name="connsiteX372" fmla="*/ 262631 w 532120"/>
                <a:gd name="connsiteY372" fmla="*/ 154748 h 446582"/>
                <a:gd name="connsiteX373" fmla="*/ 212644 w 532120"/>
                <a:gd name="connsiteY373" fmla="*/ 159472 h 446582"/>
                <a:gd name="connsiteX374" fmla="*/ 212644 w 532120"/>
                <a:gd name="connsiteY374" fmla="*/ 185990 h 446582"/>
                <a:gd name="connsiteX375" fmla="*/ 201823 w 532120"/>
                <a:gd name="connsiteY375" fmla="*/ 185990 h 446582"/>
                <a:gd name="connsiteX376" fmla="*/ 201823 w 532120"/>
                <a:gd name="connsiteY376" fmla="*/ 161606 h 446582"/>
                <a:gd name="connsiteX377" fmla="*/ 201823 w 532120"/>
                <a:gd name="connsiteY377" fmla="*/ 161606 h 446582"/>
                <a:gd name="connsiteX378" fmla="*/ 136291 w 532120"/>
                <a:gd name="connsiteY378" fmla="*/ 432573 h 446582"/>
                <a:gd name="connsiteX379" fmla="*/ 131567 w 532120"/>
                <a:gd name="connsiteY379" fmla="*/ 425868 h 446582"/>
                <a:gd name="connsiteX380" fmla="*/ 131567 w 532120"/>
                <a:gd name="connsiteY380" fmla="*/ 409256 h 446582"/>
                <a:gd name="connsiteX381" fmla="*/ 87981 w 532120"/>
                <a:gd name="connsiteY381" fmla="*/ 402703 h 446582"/>
                <a:gd name="connsiteX382" fmla="*/ 59482 w 532120"/>
                <a:gd name="connsiteY382" fmla="*/ 409256 h 446582"/>
                <a:gd name="connsiteX383" fmla="*/ 53691 w 532120"/>
                <a:gd name="connsiteY383" fmla="*/ 440803 h 446582"/>
                <a:gd name="connsiteX384" fmla="*/ 93620 w 532120"/>
                <a:gd name="connsiteY384" fmla="*/ 434859 h 446582"/>
                <a:gd name="connsiteX385" fmla="*/ 169820 w 532120"/>
                <a:gd name="connsiteY385" fmla="*/ 435773 h 446582"/>
                <a:gd name="connsiteX386" fmla="*/ 169820 w 532120"/>
                <a:gd name="connsiteY386" fmla="*/ 421905 h 446582"/>
                <a:gd name="connsiteX387" fmla="*/ 136291 w 532120"/>
                <a:gd name="connsiteY387" fmla="*/ 432573 h 446582"/>
                <a:gd name="connsiteX388" fmla="*/ 367178 w 532120"/>
                <a:gd name="connsiteY388" fmla="*/ 421905 h 446582"/>
                <a:gd name="connsiteX389" fmla="*/ 367178 w 532120"/>
                <a:gd name="connsiteY389" fmla="*/ 435773 h 446582"/>
                <a:gd name="connsiteX390" fmla="*/ 443378 w 532120"/>
                <a:gd name="connsiteY390" fmla="*/ 434859 h 446582"/>
                <a:gd name="connsiteX391" fmla="*/ 483307 w 532120"/>
                <a:gd name="connsiteY391" fmla="*/ 440803 h 446582"/>
                <a:gd name="connsiteX392" fmla="*/ 477515 w 532120"/>
                <a:gd name="connsiteY392" fmla="*/ 409256 h 446582"/>
                <a:gd name="connsiteX393" fmla="*/ 449017 w 532120"/>
                <a:gd name="connsiteY393" fmla="*/ 402703 h 446582"/>
                <a:gd name="connsiteX394" fmla="*/ 405429 w 532120"/>
                <a:gd name="connsiteY394" fmla="*/ 409256 h 446582"/>
                <a:gd name="connsiteX395" fmla="*/ 405429 w 532120"/>
                <a:gd name="connsiteY395" fmla="*/ 425868 h 446582"/>
                <a:gd name="connsiteX396" fmla="*/ 400705 w 532120"/>
                <a:gd name="connsiteY396" fmla="*/ 432573 h 446582"/>
                <a:gd name="connsiteX397" fmla="*/ 367635 w 532120"/>
                <a:gd name="connsiteY397" fmla="*/ 421143 h 446582"/>
                <a:gd name="connsiteX398" fmla="*/ 268575 w 532120"/>
                <a:gd name="connsiteY398" fmla="*/ 407579 h 446582"/>
                <a:gd name="connsiteX399" fmla="*/ 398420 w 532120"/>
                <a:gd name="connsiteY399" fmla="*/ 419924 h 446582"/>
                <a:gd name="connsiteX400" fmla="*/ 399334 w 532120"/>
                <a:gd name="connsiteY400" fmla="*/ 419924 h 446582"/>
                <a:gd name="connsiteX401" fmla="*/ 399334 w 532120"/>
                <a:gd name="connsiteY401" fmla="*/ 386853 h 446582"/>
                <a:gd name="connsiteX402" fmla="*/ 268575 w 532120"/>
                <a:gd name="connsiteY402" fmla="*/ 371613 h 446582"/>
                <a:gd name="connsiteX403" fmla="*/ 137815 w 532120"/>
                <a:gd name="connsiteY403" fmla="*/ 386853 h 446582"/>
                <a:gd name="connsiteX404" fmla="*/ 137815 w 532120"/>
                <a:gd name="connsiteY404" fmla="*/ 418857 h 446582"/>
                <a:gd name="connsiteX405" fmla="*/ 138729 w 532120"/>
                <a:gd name="connsiteY405" fmla="*/ 418857 h 446582"/>
                <a:gd name="connsiteX406" fmla="*/ 269032 w 532120"/>
                <a:gd name="connsiteY406" fmla="*/ 406818 h 446582"/>
                <a:gd name="connsiteX407" fmla="*/ 214625 w 532120"/>
                <a:gd name="connsiteY407" fmla="*/ 256551 h 446582"/>
                <a:gd name="connsiteX408" fmla="*/ 208529 w 532120"/>
                <a:gd name="connsiteY408" fmla="*/ 255027 h 446582"/>
                <a:gd name="connsiteX409" fmla="*/ 208529 w 532120"/>
                <a:gd name="connsiteY409" fmla="*/ 255789 h 446582"/>
                <a:gd name="connsiteX410" fmla="*/ 201367 w 532120"/>
                <a:gd name="connsiteY410" fmla="*/ 252589 h 446582"/>
                <a:gd name="connsiteX411" fmla="*/ 207767 w 532120"/>
                <a:gd name="connsiteY411" fmla="*/ 252589 h 446582"/>
                <a:gd name="connsiteX412" fmla="*/ 207767 w 532120"/>
                <a:gd name="connsiteY412" fmla="*/ 252589 h 446582"/>
                <a:gd name="connsiteX413" fmla="*/ 202281 w 532120"/>
                <a:gd name="connsiteY413" fmla="*/ 247255 h 446582"/>
                <a:gd name="connsiteX414" fmla="*/ 209291 w 532120"/>
                <a:gd name="connsiteY414" fmla="*/ 249846 h 446582"/>
                <a:gd name="connsiteX415" fmla="*/ 209291 w 532120"/>
                <a:gd name="connsiteY415" fmla="*/ 249846 h 446582"/>
                <a:gd name="connsiteX416" fmla="*/ 204719 w 532120"/>
                <a:gd name="connsiteY416" fmla="*/ 242988 h 446582"/>
                <a:gd name="connsiteX417" fmla="*/ 211577 w 532120"/>
                <a:gd name="connsiteY417" fmla="*/ 247559 h 446582"/>
                <a:gd name="connsiteX418" fmla="*/ 211577 w 532120"/>
                <a:gd name="connsiteY418" fmla="*/ 247559 h 446582"/>
                <a:gd name="connsiteX419" fmla="*/ 208376 w 532120"/>
                <a:gd name="connsiteY419" fmla="*/ 239482 h 446582"/>
                <a:gd name="connsiteX420" fmla="*/ 214625 w 532120"/>
                <a:gd name="connsiteY420" fmla="*/ 245426 h 446582"/>
                <a:gd name="connsiteX421" fmla="*/ 214625 w 532120"/>
                <a:gd name="connsiteY421" fmla="*/ 245426 h 446582"/>
                <a:gd name="connsiteX422" fmla="*/ 212949 w 532120"/>
                <a:gd name="connsiteY422" fmla="*/ 237349 h 446582"/>
                <a:gd name="connsiteX423" fmla="*/ 217521 w 532120"/>
                <a:gd name="connsiteY423" fmla="*/ 244054 h 446582"/>
                <a:gd name="connsiteX424" fmla="*/ 217521 w 532120"/>
                <a:gd name="connsiteY424" fmla="*/ 244054 h 446582"/>
                <a:gd name="connsiteX425" fmla="*/ 217521 w 532120"/>
                <a:gd name="connsiteY425" fmla="*/ 236739 h 446582"/>
                <a:gd name="connsiteX426" fmla="*/ 220417 w 532120"/>
                <a:gd name="connsiteY426" fmla="*/ 243445 h 446582"/>
                <a:gd name="connsiteX427" fmla="*/ 221178 w 532120"/>
                <a:gd name="connsiteY427" fmla="*/ 243445 h 446582"/>
                <a:gd name="connsiteX428" fmla="*/ 223616 w 532120"/>
                <a:gd name="connsiteY428" fmla="*/ 237806 h 446582"/>
                <a:gd name="connsiteX429" fmla="*/ 223616 w 532120"/>
                <a:gd name="connsiteY429" fmla="*/ 245426 h 446582"/>
                <a:gd name="connsiteX430" fmla="*/ 222549 w 532120"/>
                <a:gd name="connsiteY430" fmla="*/ 245426 h 446582"/>
                <a:gd name="connsiteX431" fmla="*/ 221331 w 532120"/>
                <a:gd name="connsiteY431" fmla="*/ 254722 h 446582"/>
                <a:gd name="connsiteX432" fmla="*/ 250439 w 532120"/>
                <a:gd name="connsiteY432" fmla="*/ 236892 h 446582"/>
                <a:gd name="connsiteX433" fmla="*/ 283815 w 532120"/>
                <a:gd name="connsiteY433" fmla="*/ 242988 h 446582"/>
                <a:gd name="connsiteX434" fmla="*/ 292196 w 532120"/>
                <a:gd name="connsiteY434" fmla="*/ 264933 h 446582"/>
                <a:gd name="connsiteX435" fmla="*/ 310028 w 532120"/>
                <a:gd name="connsiteY435" fmla="*/ 262190 h 446582"/>
                <a:gd name="connsiteX436" fmla="*/ 299207 w 532120"/>
                <a:gd name="connsiteY436" fmla="*/ 240092 h 446582"/>
                <a:gd name="connsiteX437" fmla="*/ 310302 w 532120"/>
                <a:gd name="connsiteY437" fmla="*/ 228632 h 446582"/>
                <a:gd name="connsiteX438" fmla="*/ 311246 w 532120"/>
                <a:gd name="connsiteY438" fmla="*/ 228662 h 446582"/>
                <a:gd name="connsiteX439" fmla="*/ 326486 w 532120"/>
                <a:gd name="connsiteY439" fmla="*/ 230796 h 446582"/>
                <a:gd name="connsiteX440" fmla="*/ 332735 w 532120"/>
                <a:gd name="connsiteY440" fmla="*/ 225919 h 446582"/>
                <a:gd name="connsiteX441" fmla="*/ 334259 w 532120"/>
                <a:gd name="connsiteY441" fmla="*/ 225919 h 446582"/>
                <a:gd name="connsiteX442" fmla="*/ 334259 w 532120"/>
                <a:gd name="connsiteY442" fmla="*/ 230491 h 446582"/>
                <a:gd name="connsiteX443" fmla="*/ 323591 w 532120"/>
                <a:gd name="connsiteY443" fmla="*/ 237044 h 446582"/>
                <a:gd name="connsiteX444" fmla="*/ 323591 w 532120"/>
                <a:gd name="connsiteY444" fmla="*/ 237044 h 446582"/>
                <a:gd name="connsiteX445" fmla="*/ 323591 w 532120"/>
                <a:gd name="connsiteY445" fmla="*/ 244664 h 446582"/>
                <a:gd name="connsiteX446" fmla="*/ 323591 w 532120"/>
                <a:gd name="connsiteY446" fmla="*/ 244664 h 446582"/>
                <a:gd name="connsiteX447" fmla="*/ 312161 w 532120"/>
                <a:gd name="connsiteY447" fmla="*/ 234301 h 446582"/>
                <a:gd name="connsiteX448" fmla="*/ 306842 w 532120"/>
                <a:gd name="connsiteY448" fmla="*/ 238690 h 446582"/>
                <a:gd name="connsiteX449" fmla="*/ 306827 w 532120"/>
                <a:gd name="connsiteY449" fmla="*/ 239330 h 446582"/>
                <a:gd name="connsiteX450" fmla="*/ 318562 w 532120"/>
                <a:gd name="connsiteY450" fmla="*/ 262952 h 446582"/>
                <a:gd name="connsiteX451" fmla="*/ 293416 w 532120"/>
                <a:gd name="connsiteY451" fmla="*/ 275449 h 446582"/>
                <a:gd name="connsiteX452" fmla="*/ 312161 w 532120"/>
                <a:gd name="connsiteY452" fmla="*/ 286117 h 446582"/>
                <a:gd name="connsiteX453" fmla="*/ 312161 w 532120"/>
                <a:gd name="connsiteY453" fmla="*/ 286117 h 446582"/>
                <a:gd name="connsiteX454" fmla="*/ 310179 w 532120"/>
                <a:gd name="connsiteY454" fmla="*/ 293889 h 446582"/>
                <a:gd name="connsiteX455" fmla="*/ 314752 w 532120"/>
                <a:gd name="connsiteY455" fmla="*/ 305472 h 446582"/>
                <a:gd name="connsiteX456" fmla="*/ 322372 w 532120"/>
                <a:gd name="connsiteY456" fmla="*/ 307758 h 446582"/>
                <a:gd name="connsiteX457" fmla="*/ 322372 w 532120"/>
                <a:gd name="connsiteY457" fmla="*/ 307758 h 446582"/>
                <a:gd name="connsiteX458" fmla="*/ 314142 w 532120"/>
                <a:gd name="connsiteY458" fmla="*/ 311415 h 446582"/>
                <a:gd name="connsiteX459" fmla="*/ 317648 w 532120"/>
                <a:gd name="connsiteY459" fmla="*/ 316444 h 446582"/>
                <a:gd name="connsiteX460" fmla="*/ 317648 w 532120"/>
                <a:gd name="connsiteY460" fmla="*/ 316444 h 446582"/>
                <a:gd name="connsiteX461" fmla="*/ 308808 w 532120"/>
                <a:gd name="connsiteY461" fmla="*/ 314768 h 446582"/>
                <a:gd name="connsiteX462" fmla="*/ 302559 w 532120"/>
                <a:gd name="connsiteY462" fmla="*/ 318578 h 446582"/>
                <a:gd name="connsiteX463" fmla="*/ 299207 w 532120"/>
                <a:gd name="connsiteY463" fmla="*/ 324064 h 446582"/>
                <a:gd name="connsiteX464" fmla="*/ 299207 w 532120"/>
                <a:gd name="connsiteY464" fmla="*/ 324064 h 446582"/>
                <a:gd name="connsiteX465" fmla="*/ 296601 w 532120"/>
                <a:gd name="connsiteY465" fmla="*/ 317679 h 446582"/>
                <a:gd name="connsiteX466" fmla="*/ 299207 w 532120"/>
                <a:gd name="connsiteY466" fmla="*/ 315073 h 446582"/>
                <a:gd name="connsiteX467" fmla="*/ 293812 w 532120"/>
                <a:gd name="connsiteY467" fmla="*/ 316612 h 446582"/>
                <a:gd name="connsiteX468" fmla="*/ 293416 w 532120"/>
                <a:gd name="connsiteY468" fmla="*/ 317663 h 446582"/>
                <a:gd name="connsiteX469" fmla="*/ 293416 w 532120"/>
                <a:gd name="connsiteY469" fmla="*/ 317663 h 446582"/>
                <a:gd name="connsiteX470" fmla="*/ 299969 w 532120"/>
                <a:gd name="connsiteY470" fmla="*/ 310958 h 446582"/>
                <a:gd name="connsiteX471" fmla="*/ 292807 w 532120"/>
                <a:gd name="connsiteY471" fmla="*/ 307910 h 446582"/>
                <a:gd name="connsiteX472" fmla="*/ 292807 w 532120"/>
                <a:gd name="connsiteY472" fmla="*/ 307910 h 446582"/>
                <a:gd name="connsiteX473" fmla="*/ 298811 w 532120"/>
                <a:gd name="connsiteY473" fmla="*/ 304984 h 446582"/>
                <a:gd name="connsiteX474" fmla="*/ 300579 w 532120"/>
                <a:gd name="connsiteY474" fmla="*/ 306081 h 446582"/>
                <a:gd name="connsiteX475" fmla="*/ 307284 w 532120"/>
                <a:gd name="connsiteY475" fmla="*/ 305167 h 446582"/>
                <a:gd name="connsiteX476" fmla="*/ 280157 w 532120"/>
                <a:gd name="connsiteY476" fmla="*/ 289927 h 446582"/>
                <a:gd name="connsiteX477" fmla="*/ 280157 w 532120"/>
                <a:gd name="connsiteY477" fmla="*/ 289927 h 446582"/>
                <a:gd name="connsiteX478" fmla="*/ 271318 w 532120"/>
                <a:gd name="connsiteY478" fmla="*/ 287489 h 446582"/>
                <a:gd name="connsiteX479" fmla="*/ 271318 w 532120"/>
                <a:gd name="connsiteY479" fmla="*/ 287489 h 446582"/>
                <a:gd name="connsiteX480" fmla="*/ 277261 w 532120"/>
                <a:gd name="connsiteY480" fmla="*/ 285355 h 446582"/>
                <a:gd name="connsiteX481" fmla="*/ 279395 w 532120"/>
                <a:gd name="connsiteY481" fmla="*/ 276668 h 446582"/>
                <a:gd name="connsiteX482" fmla="*/ 254554 w 532120"/>
                <a:gd name="connsiteY482" fmla="*/ 250608 h 446582"/>
                <a:gd name="connsiteX483" fmla="*/ 226970 w 532120"/>
                <a:gd name="connsiteY483" fmla="*/ 259904 h 446582"/>
                <a:gd name="connsiteX484" fmla="*/ 234132 w 532120"/>
                <a:gd name="connsiteY484" fmla="*/ 261428 h 446582"/>
                <a:gd name="connsiteX485" fmla="*/ 222276 w 532120"/>
                <a:gd name="connsiteY485" fmla="*/ 271425 h 446582"/>
                <a:gd name="connsiteX486" fmla="*/ 220111 w 532120"/>
                <a:gd name="connsiteY486" fmla="*/ 271029 h 446582"/>
                <a:gd name="connsiteX487" fmla="*/ 221178 w 532120"/>
                <a:gd name="connsiteY487" fmla="*/ 262799 h 446582"/>
                <a:gd name="connsiteX488" fmla="*/ 215844 w 532120"/>
                <a:gd name="connsiteY488" fmla="*/ 266305 h 446582"/>
                <a:gd name="connsiteX489" fmla="*/ 215844 w 532120"/>
                <a:gd name="connsiteY489" fmla="*/ 266305 h 446582"/>
                <a:gd name="connsiteX490" fmla="*/ 219502 w 532120"/>
                <a:gd name="connsiteY490" fmla="*/ 258685 h 446582"/>
                <a:gd name="connsiteX491" fmla="*/ 219502 w 532120"/>
                <a:gd name="connsiteY491" fmla="*/ 258685 h 446582"/>
                <a:gd name="connsiteX492" fmla="*/ 213558 w 532120"/>
                <a:gd name="connsiteY492" fmla="*/ 262038 h 446582"/>
                <a:gd name="connsiteX493" fmla="*/ 213558 w 532120"/>
                <a:gd name="connsiteY493" fmla="*/ 262038 h 446582"/>
                <a:gd name="connsiteX494" fmla="*/ 215082 w 532120"/>
                <a:gd name="connsiteY494" fmla="*/ 255789 h 446582"/>
                <a:gd name="connsiteX495" fmla="*/ 235809 w 532120"/>
                <a:gd name="connsiteY495" fmla="*/ 312177 h 446582"/>
                <a:gd name="connsiteX496" fmla="*/ 227122 w 532120"/>
                <a:gd name="connsiteY496" fmla="*/ 312177 h 446582"/>
                <a:gd name="connsiteX497" fmla="*/ 223160 w 532120"/>
                <a:gd name="connsiteY497" fmla="*/ 315835 h 446582"/>
                <a:gd name="connsiteX498" fmla="*/ 223160 w 532120"/>
                <a:gd name="connsiteY498" fmla="*/ 316139 h 446582"/>
                <a:gd name="connsiteX499" fmla="*/ 223160 w 532120"/>
                <a:gd name="connsiteY499" fmla="*/ 316139 h 446582"/>
                <a:gd name="connsiteX500" fmla="*/ 222992 w 532120"/>
                <a:gd name="connsiteY500" fmla="*/ 309251 h 446582"/>
                <a:gd name="connsiteX501" fmla="*/ 226055 w 532120"/>
                <a:gd name="connsiteY501" fmla="*/ 307758 h 446582"/>
                <a:gd name="connsiteX502" fmla="*/ 219806 w 532120"/>
                <a:gd name="connsiteY502" fmla="*/ 307453 h 446582"/>
                <a:gd name="connsiteX503" fmla="*/ 219502 w 532120"/>
                <a:gd name="connsiteY503" fmla="*/ 307758 h 446582"/>
                <a:gd name="connsiteX504" fmla="*/ 219502 w 532120"/>
                <a:gd name="connsiteY504" fmla="*/ 307758 h 446582"/>
                <a:gd name="connsiteX505" fmla="*/ 227884 w 532120"/>
                <a:gd name="connsiteY505" fmla="*/ 303643 h 446582"/>
                <a:gd name="connsiteX506" fmla="*/ 224074 w 532120"/>
                <a:gd name="connsiteY506" fmla="*/ 299376 h 446582"/>
                <a:gd name="connsiteX507" fmla="*/ 224074 w 532120"/>
                <a:gd name="connsiteY507" fmla="*/ 299376 h 446582"/>
                <a:gd name="connsiteX508" fmla="*/ 227426 w 532120"/>
                <a:gd name="connsiteY508" fmla="*/ 297547 h 446582"/>
                <a:gd name="connsiteX509" fmla="*/ 233828 w 532120"/>
                <a:gd name="connsiteY509" fmla="*/ 302119 h 446582"/>
                <a:gd name="connsiteX510" fmla="*/ 242819 w 532120"/>
                <a:gd name="connsiteY510" fmla="*/ 296937 h 446582"/>
                <a:gd name="connsiteX511" fmla="*/ 240076 w 532120"/>
                <a:gd name="connsiteY511" fmla="*/ 281697 h 446582"/>
                <a:gd name="connsiteX512" fmla="*/ 240076 w 532120"/>
                <a:gd name="connsiteY512" fmla="*/ 281697 h 446582"/>
                <a:gd name="connsiteX513" fmla="*/ 233979 w 532120"/>
                <a:gd name="connsiteY513" fmla="*/ 277278 h 446582"/>
                <a:gd name="connsiteX514" fmla="*/ 233979 w 532120"/>
                <a:gd name="connsiteY514" fmla="*/ 277278 h 446582"/>
                <a:gd name="connsiteX515" fmla="*/ 240381 w 532120"/>
                <a:gd name="connsiteY515" fmla="*/ 275296 h 446582"/>
                <a:gd name="connsiteX516" fmla="*/ 262783 w 532120"/>
                <a:gd name="connsiteY516" fmla="*/ 260056 h 446582"/>
                <a:gd name="connsiteX517" fmla="*/ 271470 w 532120"/>
                <a:gd name="connsiteY517" fmla="*/ 263409 h 446582"/>
                <a:gd name="connsiteX518" fmla="*/ 274518 w 532120"/>
                <a:gd name="connsiteY518" fmla="*/ 272553 h 446582"/>
                <a:gd name="connsiteX519" fmla="*/ 274518 w 532120"/>
                <a:gd name="connsiteY519" fmla="*/ 272553 h 446582"/>
                <a:gd name="connsiteX520" fmla="*/ 251963 w 532120"/>
                <a:gd name="connsiteY520" fmla="*/ 293889 h 446582"/>
                <a:gd name="connsiteX521" fmla="*/ 258211 w 532120"/>
                <a:gd name="connsiteY521" fmla="*/ 303643 h 446582"/>
                <a:gd name="connsiteX522" fmla="*/ 258211 w 532120"/>
                <a:gd name="connsiteY522" fmla="*/ 303643 h 446582"/>
                <a:gd name="connsiteX523" fmla="*/ 253640 w 532120"/>
                <a:gd name="connsiteY523" fmla="*/ 305929 h 446582"/>
                <a:gd name="connsiteX524" fmla="*/ 248001 w 532120"/>
                <a:gd name="connsiteY524" fmla="*/ 304100 h 446582"/>
                <a:gd name="connsiteX525" fmla="*/ 240381 w 532120"/>
                <a:gd name="connsiteY525" fmla="*/ 310501 h 446582"/>
                <a:gd name="connsiteX526" fmla="*/ 243124 w 532120"/>
                <a:gd name="connsiteY526" fmla="*/ 314311 h 446582"/>
                <a:gd name="connsiteX527" fmla="*/ 243124 w 532120"/>
                <a:gd name="connsiteY527" fmla="*/ 314311 h 446582"/>
                <a:gd name="connsiteX528" fmla="*/ 236266 w 532120"/>
                <a:gd name="connsiteY528" fmla="*/ 311415 h 446582"/>
                <a:gd name="connsiteX529" fmla="*/ 276956 w 532120"/>
                <a:gd name="connsiteY529" fmla="*/ 184923 h 446582"/>
                <a:gd name="connsiteX530" fmla="*/ 269184 w 532120"/>
                <a:gd name="connsiteY530" fmla="*/ 187209 h 446582"/>
                <a:gd name="connsiteX531" fmla="*/ 277414 w 532120"/>
                <a:gd name="connsiteY531" fmla="*/ 184161 h 446582"/>
                <a:gd name="connsiteX532" fmla="*/ 258973 w 532120"/>
                <a:gd name="connsiteY532" fmla="*/ 196963 h 446582"/>
                <a:gd name="connsiteX533" fmla="*/ 266593 w 532120"/>
                <a:gd name="connsiteY533" fmla="*/ 196963 h 446582"/>
                <a:gd name="connsiteX534" fmla="*/ 266593 w 532120"/>
                <a:gd name="connsiteY534" fmla="*/ 198029 h 446582"/>
                <a:gd name="connsiteX535" fmla="*/ 254401 w 532120"/>
                <a:gd name="connsiteY535" fmla="*/ 202297 h 446582"/>
                <a:gd name="connsiteX536" fmla="*/ 249021 w 532120"/>
                <a:gd name="connsiteY536" fmla="*/ 196414 h 446582"/>
                <a:gd name="connsiteX537" fmla="*/ 249372 w 532120"/>
                <a:gd name="connsiteY537" fmla="*/ 194677 h 446582"/>
                <a:gd name="connsiteX538" fmla="*/ 249372 w 532120"/>
                <a:gd name="connsiteY538" fmla="*/ 194677 h 446582"/>
                <a:gd name="connsiteX539" fmla="*/ 259431 w 532120"/>
                <a:gd name="connsiteY539" fmla="*/ 196201 h 446582"/>
                <a:gd name="connsiteX540" fmla="*/ 165857 w 532120"/>
                <a:gd name="connsiteY540" fmla="*/ 356373 h 446582"/>
                <a:gd name="connsiteX541" fmla="*/ 181097 w 532120"/>
                <a:gd name="connsiteY541" fmla="*/ 356373 h 446582"/>
                <a:gd name="connsiteX542" fmla="*/ 188565 w 532120"/>
                <a:gd name="connsiteY542" fmla="*/ 363536 h 446582"/>
                <a:gd name="connsiteX543" fmla="*/ 188565 w 532120"/>
                <a:gd name="connsiteY543" fmla="*/ 363536 h 446582"/>
                <a:gd name="connsiteX544" fmla="*/ 188443 w 532120"/>
                <a:gd name="connsiteY544" fmla="*/ 350826 h 446582"/>
                <a:gd name="connsiteX545" fmla="*/ 183078 w 532120"/>
                <a:gd name="connsiteY545" fmla="*/ 348296 h 446582"/>
                <a:gd name="connsiteX546" fmla="*/ 194493 w 532120"/>
                <a:gd name="connsiteY546" fmla="*/ 348799 h 446582"/>
                <a:gd name="connsiteX547" fmla="*/ 194965 w 532120"/>
                <a:gd name="connsiteY547" fmla="*/ 349363 h 446582"/>
                <a:gd name="connsiteX548" fmla="*/ 194965 w 532120"/>
                <a:gd name="connsiteY548" fmla="*/ 349363 h 446582"/>
                <a:gd name="connsiteX549" fmla="*/ 179725 w 532120"/>
                <a:gd name="connsiteY549" fmla="*/ 341743 h 446582"/>
                <a:gd name="connsiteX550" fmla="*/ 186583 w 532120"/>
                <a:gd name="connsiteY550" fmla="*/ 334123 h 446582"/>
                <a:gd name="connsiteX551" fmla="*/ 186583 w 532120"/>
                <a:gd name="connsiteY551" fmla="*/ 334123 h 446582"/>
                <a:gd name="connsiteX552" fmla="*/ 171343 w 532120"/>
                <a:gd name="connsiteY552" fmla="*/ 337933 h 446582"/>
                <a:gd name="connsiteX553" fmla="*/ 152446 w 532120"/>
                <a:gd name="connsiteY553" fmla="*/ 329551 h 446582"/>
                <a:gd name="connsiteX554" fmla="*/ 162352 w 532120"/>
                <a:gd name="connsiteY554" fmla="*/ 309586 h 446582"/>
                <a:gd name="connsiteX555" fmla="*/ 162352 w 532120"/>
                <a:gd name="connsiteY555" fmla="*/ 307910 h 446582"/>
                <a:gd name="connsiteX556" fmla="*/ 162352 w 532120"/>
                <a:gd name="connsiteY556" fmla="*/ 307910 h 446582"/>
                <a:gd name="connsiteX557" fmla="*/ 166162 w 532120"/>
                <a:gd name="connsiteY557" fmla="*/ 308824 h 446582"/>
                <a:gd name="connsiteX558" fmla="*/ 172715 w 532120"/>
                <a:gd name="connsiteY558" fmla="*/ 300138 h 446582"/>
                <a:gd name="connsiteX559" fmla="*/ 172715 w 532120"/>
                <a:gd name="connsiteY559" fmla="*/ 300138 h 446582"/>
                <a:gd name="connsiteX560" fmla="*/ 169209 w 532120"/>
                <a:gd name="connsiteY560" fmla="*/ 302271 h 446582"/>
                <a:gd name="connsiteX561" fmla="*/ 124556 w 532120"/>
                <a:gd name="connsiteY561" fmla="*/ 275449 h 446582"/>
                <a:gd name="connsiteX562" fmla="*/ 104592 w 532120"/>
                <a:gd name="connsiteY562" fmla="*/ 284440 h 446582"/>
                <a:gd name="connsiteX563" fmla="*/ 107183 w 532120"/>
                <a:gd name="connsiteY563" fmla="*/ 290993 h 446582"/>
                <a:gd name="connsiteX564" fmla="*/ 101392 w 532120"/>
                <a:gd name="connsiteY564" fmla="*/ 296785 h 446582"/>
                <a:gd name="connsiteX565" fmla="*/ 101392 w 532120"/>
                <a:gd name="connsiteY565" fmla="*/ 297547 h 446582"/>
                <a:gd name="connsiteX566" fmla="*/ 136291 w 532120"/>
                <a:gd name="connsiteY566" fmla="*/ 310653 h 446582"/>
                <a:gd name="connsiteX567" fmla="*/ 137511 w 532120"/>
                <a:gd name="connsiteY567" fmla="*/ 333970 h 446582"/>
                <a:gd name="connsiteX568" fmla="*/ 126690 w 532120"/>
                <a:gd name="connsiteY568" fmla="*/ 342809 h 446582"/>
                <a:gd name="connsiteX569" fmla="*/ 126690 w 532120"/>
                <a:gd name="connsiteY569" fmla="*/ 342809 h 446582"/>
                <a:gd name="connsiteX570" fmla="*/ 135072 w 532120"/>
                <a:gd name="connsiteY570" fmla="*/ 347229 h 446582"/>
                <a:gd name="connsiteX571" fmla="*/ 144826 w 532120"/>
                <a:gd name="connsiteY571" fmla="*/ 344029 h 446582"/>
                <a:gd name="connsiteX572" fmla="*/ 158846 w 532120"/>
                <a:gd name="connsiteY572" fmla="*/ 355459 h 446582"/>
                <a:gd name="connsiteX573" fmla="*/ 153969 w 532120"/>
                <a:gd name="connsiteY573" fmla="*/ 362469 h 446582"/>
                <a:gd name="connsiteX574" fmla="*/ 153969 w 532120"/>
                <a:gd name="connsiteY574" fmla="*/ 362469 h 446582"/>
                <a:gd name="connsiteX575" fmla="*/ 165857 w 532120"/>
                <a:gd name="connsiteY575" fmla="*/ 356373 h 446582"/>
                <a:gd name="connsiteX576" fmla="*/ 384856 w 532120"/>
                <a:gd name="connsiteY576" fmla="*/ 363231 h 446582"/>
                <a:gd name="connsiteX577" fmla="*/ 384856 w 532120"/>
                <a:gd name="connsiteY577" fmla="*/ 363231 h 446582"/>
                <a:gd name="connsiteX578" fmla="*/ 379979 w 532120"/>
                <a:gd name="connsiteY578" fmla="*/ 356221 h 446582"/>
                <a:gd name="connsiteX579" fmla="*/ 393848 w 532120"/>
                <a:gd name="connsiteY579" fmla="*/ 344791 h 446582"/>
                <a:gd name="connsiteX580" fmla="*/ 403753 w 532120"/>
                <a:gd name="connsiteY580" fmla="*/ 347991 h 446582"/>
                <a:gd name="connsiteX581" fmla="*/ 412135 w 532120"/>
                <a:gd name="connsiteY581" fmla="*/ 343572 h 446582"/>
                <a:gd name="connsiteX582" fmla="*/ 412135 w 532120"/>
                <a:gd name="connsiteY582" fmla="*/ 343572 h 446582"/>
                <a:gd name="connsiteX583" fmla="*/ 401315 w 532120"/>
                <a:gd name="connsiteY583" fmla="*/ 334732 h 446582"/>
                <a:gd name="connsiteX584" fmla="*/ 402534 w 532120"/>
                <a:gd name="connsiteY584" fmla="*/ 311415 h 446582"/>
                <a:gd name="connsiteX585" fmla="*/ 434843 w 532120"/>
                <a:gd name="connsiteY585" fmla="*/ 297242 h 446582"/>
                <a:gd name="connsiteX586" fmla="*/ 434843 w 532120"/>
                <a:gd name="connsiteY586" fmla="*/ 296480 h 446582"/>
                <a:gd name="connsiteX587" fmla="*/ 429052 w 532120"/>
                <a:gd name="connsiteY587" fmla="*/ 290689 h 446582"/>
                <a:gd name="connsiteX588" fmla="*/ 431643 w 532120"/>
                <a:gd name="connsiteY588" fmla="*/ 284136 h 446582"/>
                <a:gd name="connsiteX589" fmla="*/ 411678 w 532120"/>
                <a:gd name="connsiteY589" fmla="*/ 275144 h 446582"/>
                <a:gd name="connsiteX590" fmla="*/ 367025 w 532120"/>
                <a:gd name="connsiteY590" fmla="*/ 301966 h 446582"/>
                <a:gd name="connsiteX591" fmla="*/ 363519 w 532120"/>
                <a:gd name="connsiteY591" fmla="*/ 299833 h 446582"/>
                <a:gd name="connsiteX592" fmla="*/ 363519 w 532120"/>
                <a:gd name="connsiteY592" fmla="*/ 299833 h 446582"/>
                <a:gd name="connsiteX593" fmla="*/ 370073 w 532120"/>
                <a:gd name="connsiteY593" fmla="*/ 308519 h 446582"/>
                <a:gd name="connsiteX594" fmla="*/ 373883 w 532120"/>
                <a:gd name="connsiteY594" fmla="*/ 307605 h 446582"/>
                <a:gd name="connsiteX595" fmla="*/ 373883 w 532120"/>
                <a:gd name="connsiteY595" fmla="*/ 307605 h 446582"/>
                <a:gd name="connsiteX596" fmla="*/ 373883 w 532120"/>
                <a:gd name="connsiteY596" fmla="*/ 309282 h 446582"/>
                <a:gd name="connsiteX597" fmla="*/ 383789 w 532120"/>
                <a:gd name="connsiteY597" fmla="*/ 329246 h 446582"/>
                <a:gd name="connsiteX598" fmla="*/ 364891 w 532120"/>
                <a:gd name="connsiteY598" fmla="*/ 337628 h 446582"/>
                <a:gd name="connsiteX599" fmla="*/ 349651 w 532120"/>
                <a:gd name="connsiteY599" fmla="*/ 333818 h 446582"/>
                <a:gd name="connsiteX600" fmla="*/ 349651 w 532120"/>
                <a:gd name="connsiteY600" fmla="*/ 333818 h 446582"/>
                <a:gd name="connsiteX601" fmla="*/ 356357 w 532120"/>
                <a:gd name="connsiteY601" fmla="*/ 341438 h 446582"/>
                <a:gd name="connsiteX602" fmla="*/ 341117 w 532120"/>
                <a:gd name="connsiteY602" fmla="*/ 349058 h 446582"/>
                <a:gd name="connsiteX603" fmla="*/ 341117 w 532120"/>
                <a:gd name="connsiteY603" fmla="*/ 349058 h 446582"/>
                <a:gd name="connsiteX604" fmla="*/ 352440 w 532120"/>
                <a:gd name="connsiteY604" fmla="*/ 347519 h 446582"/>
                <a:gd name="connsiteX605" fmla="*/ 353004 w 532120"/>
                <a:gd name="connsiteY605" fmla="*/ 347991 h 446582"/>
                <a:gd name="connsiteX606" fmla="*/ 344775 w 532120"/>
                <a:gd name="connsiteY606" fmla="*/ 357394 h 446582"/>
                <a:gd name="connsiteX607" fmla="*/ 347518 w 532120"/>
                <a:gd name="connsiteY607" fmla="*/ 363231 h 446582"/>
                <a:gd name="connsiteX608" fmla="*/ 347518 w 532120"/>
                <a:gd name="connsiteY608" fmla="*/ 363231 h 446582"/>
                <a:gd name="connsiteX609" fmla="*/ 354985 w 532120"/>
                <a:gd name="connsiteY609" fmla="*/ 356069 h 446582"/>
                <a:gd name="connsiteX610" fmla="*/ 370225 w 532120"/>
                <a:gd name="connsiteY610" fmla="*/ 356069 h 446582"/>
                <a:gd name="connsiteX611" fmla="*/ 384856 w 532120"/>
                <a:gd name="connsiteY611" fmla="*/ 362774 h 446582"/>
                <a:gd name="connsiteX612" fmla="*/ 224531 w 532120"/>
                <a:gd name="connsiteY612" fmla="*/ 208240 h 446582"/>
                <a:gd name="connsiteX613" fmla="*/ 221026 w 532120"/>
                <a:gd name="connsiteY613" fmla="*/ 208240 h 446582"/>
                <a:gd name="connsiteX614" fmla="*/ 221026 w 532120"/>
                <a:gd name="connsiteY614" fmla="*/ 208240 h 446582"/>
                <a:gd name="connsiteX615" fmla="*/ 226512 w 532120"/>
                <a:gd name="connsiteY615" fmla="*/ 212812 h 446582"/>
                <a:gd name="connsiteX616" fmla="*/ 230322 w 532120"/>
                <a:gd name="connsiteY616" fmla="*/ 211136 h 446582"/>
                <a:gd name="connsiteX617" fmla="*/ 247848 w 532120"/>
                <a:gd name="connsiteY617" fmla="*/ 216470 h 446582"/>
                <a:gd name="connsiteX618" fmla="*/ 243886 w 532120"/>
                <a:gd name="connsiteY618" fmla="*/ 226986 h 446582"/>
                <a:gd name="connsiteX619" fmla="*/ 220569 w 532120"/>
                <a:gd name="connsiteY619" fmla="*/ 214184 h 446582"/>
                <a:gd name="connsiteX620" fmla="*/ 214778 w 532120"/>
                <a:gd name="connsiteY620" fmla="*/ 221956 h 446582"/>
                <a:gd name="connsiteX621" fmla="*/ 210205 w 532120"/>
                <a:gd name="connsiteY621" fmla="*/ 218603 h 446582"/>
                <a:gd name="connsiteX622" fmla="*/ 214625 w 532120"/>
                <a:gd name="connsiteY622" fmla="*/ 212660 h 446582"/>
                <a:gd name="connsiteX623" fmla="*/ 208681 w 532120"/>
                <a:gd name="connsiteY623" fmla="*/ 212660 h 446582"/>
                <a:gd name="connsiteX624" fmla="*/ 208681 w 532120"/>
                <a:gd name="connsiteY624" fmla="*/ 212660 h 446582"/>
                <a:gd name="connsiteX625" fmla="*/ 216911 w 532120"/>
                <a:gd name="connsiteY625" fmla="*/ 209459 h 446582"/>
                <a:gd name="connsiteX626" fmla="*/ 210663 w 532120"/>
                <a:gd name="connsiteY626" fmla="*/ 207479 h 446582"/>
                <a:gd name="connsiteX627" fmla="*/ 210663 w 532120"/>
                <a:gd name="connsiteY627" fmla="*/ 207479 h 446582"/>
                <a:gd name="connsiteX628" fmla="*/ 220569 w 532120"/>
                <a:gd name="connsiteY628" fmla="*/ 205497 h 446582"/>
                <a:gd name="connsiteX629" fmla="*/ 222549 w 532120"/>
                <a:gd name="connsiteY629" fmla="*/ 202754 h 446582"/>
                <a:gd name="connsiteX630" fmla="*/ 218588 w 532120"/>
                <a:gd name="connsiteY630" fmla="*/ 198487 h 446582"/>
                <a:gd name="connsiteX631" fmla="*/ 221026 w 532120"/>
                <a:gd name="connsiteY631" fmla="*/ 195134 h 446582"/>
                <a:gd name="connsiteX632" fmla="*/ 223921 w 532120"/>
                <a:gd name="connsiteY632" fmla="*/ 198944 h 446582"/>
                <a:gd name="connsiteX633" fmla="*/ 245409 w 532120"/>
                <a:gd name="connsiteY633" fmla="*/ 169379 h 446582"/>
                <a:gd name="connsiteX634" fmla="*/ 251811 w 532120"/>
                <a:gd name="connsiteY634" fmla="*/ 167092 h 446582"/>
                <a:gd name="connsiteX635" fmla="*/ 251811 w 532120"/>
                <a:gd name="connsiteY635" fmla="*/ 173950 h 446582"/>
                <a:gd name="connsiteX636" fmla="*/ 230627 w 532120"/>
                <a:gd name="connsiteY636" fmla="*/ 203669 h 446582"/>
                <a:gd name="connsiteX637" fmla="*/ 235046 w 532120"/>
                <a:gd name="connsiteY637" fmla="*/ 205040 h 446582"/>
                <a:gd name="connsiteX638" fmla="*/ 232608 w 532120"/>
                <a:gd name="connsiteY638" fmla="*/ 208545 h 446582"/>
                <a:gd name="connsiteX639" fmla="*/ 227274 w 532120"/>
                <a:gd name="connsiteY639" fmla="*/ 206107 h 446582"/>
                <a:gd name="connsiteX640" fmla="*/ 300731 w 532120"/>
                <a:gd name="connsiteY640" fmla="*/ 203516 h 446582"/>
                <a:gd name="connsiteX641" fmla="*/ 305913 w 532120"/>
                <a:gd name="connsiteY641" fmla="*/ 209002 h 446582"/>
                <a:gd name="connsiteX642" fmla="*/ 305913 w 532120"/>
                <a:gd name="connsiteY642" fmla="*/ 209002 h 446582"/>
                <a:gd name="connsiteX643" fmla="*/ 297531 w 532120"/>
                <a:gd name="connsiteY643" fmla="*/ 211136 h 446582"/>
                <a:gd name="connsiteX644" fmla="*/ 299512 w 532120"/>
                <a:gd name="connsiteY644" fmla="*/ 221941 h 446582"/>
                <a:gd name="connsiteX645" fmla="*/ 300579 w 532120"/>
                <a:gd name="connsiteY645" fmla="*/ 222566 h 446582"/>
                <a:gd name="connsiteX646" fmla="*/ 300579 w 532120"/>
                <a:gd name="connsiteY646" fmla="*/ 223328 h 446582"/>
                <a:gd name="connsiteX647" fmla="*/ 291876 w 532120"/>
                <a:gd name="connsiteY647" fmla="*/ 221789 h 446582"/>
                <a:gd name="connsiteX648" fmla="*/ 291435 w 532120"/>
                <a:gd name="connsiteY648" fmla="*/ 221042 h 446582"/>
                <a:gd name="connsiteX649" fmla="*/ 290368 w 532120"/>
                <a:gd name="connsiteY649" fmla="*/ 232167 h 446582"/>
                <a:gd name="connsiteX650" fmla="*/ 270099 w 532120"/>
                <a:gd name="connsiteY650" fmla="*/ 233996 h 446582"/>
                <a:gd name="connsiteX651" fmla="*/ 250134 w 532120"/>
                <a:gd name="connsiteY651" fmla="*/ 227595 h 446582"/>
                <a:gd name="connsiteX652" fmla="*/ 267813 w 532120"/>
                <a:gd name="connsiteY652" fmla="*/ 211289 h 446582"/>
                <a:gd name="connsiteX653" fmla="*/ 276195 w 532120"/>
                <a:gd name="connsiteY653" fmla="*/ 203059 h 446582"/>
                <a:gd name="connsiteX654" fmla="*/ 267965 w 532120"/>
                <a:gd name="connsiteY654" fmla="*/ 204888 h 446582"/>
                <a:gd name="connsiteX655" fmla="*/ 267965 w 532120"/>
                <a:gd name="connsiteY655" fmla="*/ 201687 h 446582"/>
                <a:gd name="connsiteX656" fmla="*/ 267965 w 532120"/>
                <a:gd name="connsiteY656" fmla="*/ 198792 h 446582"/>
                <a:gd name="connsiteX657" fmla="*/ 274975 w 532120"/>
                <a:gd name="connsiteY657" fmla="*/ 197572 h 446582"/>
                <a:gd name="connsiteX658" fmla="*/ 264917 w 532120"/>
                <a:gd name="connsiteY658" fmla="*/ 194067 h 446582"/>
                <a:gd name="connsiteX659" fmla="*/ 262936 w 532120"/>
                <a:gd name="connsiteY659" fmla="*/ 189343 h 446582"/>
                <a:gd name="connsiteX660" fmla="*/ 261869 w 532120"/>
                <a:gd name="connsiteY660" fmla="*/ 187514 h 446582"/>
                <a:gd name="connsiteX661" fmla="*/ 270708 w 532120"/>
                <a:gd name="connsiteY661" fmla="*/ 181723 h 446582"/>
                <a:gd name="connsiteX662" fmla="*/ 281377 w 532120"/>
                <a:gd name="connsiteY662" fmla="*/ 177456 h 446582"/>
                <a:gd name="connsiteX663" fmla="*/ 279852 w 532120"/>
                <a:gd name="connsiteY663" fmla="*/ 166178 h 446582"/>
                <a:gd name="connsiteX664" fmla="*/ 279852 w 532120"/>
                <a:gd name="connsiteY664" fmla="*/ 166178 h 446582"/>
                <a:gd name="connsiteX665" fmla="*/ 286863 w 532120"/>
                <a:gd name="connsiteY665" fmla="*/ 174103 h 446582"/>
                <a:gd name="connsiteX666" fmla="*/ 295702 w 532120"/>
                <a:gd name="connsiteY666" fmla="*/ 169836 h 446582"/>
                <a:gd name="connsiteX667" fmla="*/ 297378 w 532120"/>
                <a:gd name="connsiteY667" fmla="*/ 179589 h 446582"/>
                <a:gd name="connsiteX668" fmla="*/ 307894 w 532120"/>
                <a:gd name="connsiteY668" fmla="*/ 180809 h 446582"/>
                <a:gd name="connsiteX669" fmla="*/ 307894 w 532120"/>
                <a:gd name="connsiteY669" fmla="*/ 181723 h 446582"/>
                <a:gd name="connsiteX670" fmla="*/ 297835 w 532120"/>
                <a:gd name="connsiteY670" fmla="*/ 186904 h 446582"/>
                <a:gd name="connsiteX671" fmla="*/ 299969 w 532120"/>
                <a:gd name="connsiteY671" fmla="*/ 203059 h 44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Lst>
              <a:rect l="l" t="t" r="r" b="b"/>
              <a:pathLst>
                <a:path w="532120" h="446582">
                  <a:moveTo>
                    <a:pt x="279852" y="341133"/>
                  </a:moveTo>
                  <a:lnTo>
                    <a:pt x="269032" y="341133"/>
                  </a:lnTo>
                  <a:lnTo>
                    <a:pt x="269032" y="310653"/>
                  </a:lnTo>
                  <a:lnTo>
                    <a:pt x="279852" y="310653"/>
                  </a:lnTo>
                  <a:close/>
                  <a:moveTo>
                    <a:pt x="328620" y="209002"/>
                  </a:moveTo>
                  <a:lnTo>
                    <a:pt x="317799" y="209002"/>
                  </a:lnTo>
                  <a:lnTo>
                    <a:pt x="317799" y="178522"/>
                  </a:lnTo>
                  <a:lnTo>
                    <a:pt x="328620" y="178522"/>
                  </a:lnTo>
                  <a:close/>
                  <a:moveTo>
                    <a:pt x="128366" y="158253"/>
                  </a:moveTo>
                  <a:cubicBezTo>
                    <a:pt x="127604" y="158253"/>
                    <a:pt x="121966" y="158253"/>
                    <a:pt x="121966" y="159472"/>
                  </a:cubicBezTo>
                  <a:cubicBezTo>
                    <a:pt x="121966" y="160692"/>
                    <a:pt x="124556" y="159472"/>
                    <a:pt x="128366" y="160692"/>
                  </a:cubicBezTo>
                  <a:cubicBezTo>
                    <a:pt x="137053" y="162216"/>
                    <a:pt x="140407" y="166483"/>
                    <a:pt x="146502" y="166483"/>
                  </a:cubicBezTo>
                  <a:cubicBezTo>
                    <a:pt x="151272" y="166970"/>
                    <a:pt x="155540" y="163480"/>
                    <a:pt x="156012" y="158710"/>
                  </a:cubicBezTo>
                  <a:cubicBezTo>
                    <a:pt x="156149" y="157369"/>
                    <a:pt x="155981" y="156013"/>
                    <a:pt x="155494" y="154748"/>
                  </a:cubicBezTo>
                  <a:cubicBezTo>
                    <a:pt x="155494" y="153529"/>
                    <a:pt x="154427" y="153833"/>
                    <a:pt x="154122" y="154748"/>
                  </a:cubicBezTo>
                  <a:cubicBezTo>
                    <a:pt x="154122" y="158253"/>
                    <a:pt x="148941" y="160234"/>
                    <a:pt x="144369" y="160234"/>
                  </a:cubicBezTo>
                  <a:cubicBezTo>
                    <a:pt x="139796" y="160234"/>
                    <a:pt x="137358" y="158253"/>
                    <a:pt x="128366" y="158253"/>
                  </a:cubicBezTo>
                  <a:close/>
                  <a:moveTo>
                    <a:pt x="68931" y="188733"/>
                  </a:moveTo>
                  <a:cubicBezTo>
                    <a:pt x="69845" y="190105"/>
                    <a:pt x="80056" y="203211"/>
                    <a:pt x="64359" y="208393"/>
                  </a:cubicBezTo>
                  <a:cubicBezTo>
                    <a:pt x="64359" y="208393"/>
                    <a:pt x="63444" y="209307"/>
                    <a:pt x="64359" y="209764"/>
                  </a:cubicBezTo>
                  <a:cubicBezTo>
                    <a:pt x="70333" y="212843"/>
                    <a:pt x="77648" y="211090"/>
                    <a:pt x="81579" y="205649"/>
                  </a:cubicBezTo>
                  <a:cubicBezTo>
                    <a:pt x="85268" y="212492"/>
                    <a:pt x="83973" y="220966"/>
                    <a:pt x="78380" y="226376"/>
                  </a:cubicBezTo>
                  <a:cubicBezTo>
                    <a:pt x="82326" y="230826"/>
                    <a:pt x="87737" y="233737"/>
                    <a:pt x="93620" y="234606"/>
                  </a:cubicBezTo>
                  <a:cubicBezTo>
                    <a:pt x="97871" y="232564"/>
                    <a:pt x="101224" y="229043"/>
                    <a:pt x="103068" y="224699"/>
                  </a:cubicBezTo>
                  <a:cubicBezTo>
                    <a:pt x="104288" y="228357"/>
                    <a:pt x="104288" y="232319"/>
                    <a:pt x="103068" y="235977"/>
                  </a:cubicBezTo>
                  <a:cubicBezTo>
                    <a:pt x="126690" y="238111"/>
                    <a:pt x="134919" y="219213"/>
                    <a:pt x="153208" y="222719"/>
                  </a:cubicBezTo>
                  <a:lnTo>
                    <a:pt x="153969" y="222719"/>
                  </a:lnTo>
                  <a:cubicBezTo>
                    <a:pt x="154092" y="204568"/>
                    <a:pt x="141290" y="188886"/>
                    <a:pt x="123489" y="185380"/>
                  </a:cubicBezTo>
                  <a:cubicBezTo>
                    <a:pt x="101087" y="181113"/>
                    <a:pt x="107031" y="171817"/>
                    <a:pt x="107031" y="171817"/>
                  </a:cubicBezTo>
                  <a:cubicBezTo>
                    <a:pt x="112380" y="171344"/>
                    <a:pt x="117729" y="172624"/>
                    <a:pt x="122271" y="175474"/>
                  </a:cubicBezTo>
                  <a:cubicBezTo>
                    <a:pt x="123368" y="173707"/>
                    <a:pt x="123368" y="171451"/>
                    <a:pt x="122271" y="169683"/>
                  </a:cubicBezTo>
                  <a:cubicBezTo>
                    <a:pt x="123018" y="168098"/>
                    <a:pt x="123475" y="166391"/>
                    <a:pt x="123642" y="164654"/>
                  </a:cubicBezTo>
                  <a:cubicBezTo>
                    <a:pt x="112974" y="164654"/>
                    <a:pt x="110231" y="162368"/>
                    <a:pt x="110231" y="162368"/>
                  </a:cubicBezTo>
                  <a:cubicBezTo>
                    <a:pt x="108554" y="156119"/>
                    <a:pt x="112974" y="147128"/>
                    <a:pt x="128824" y="156729"/>
                  </a:cubicBezTo>
                  <a:cubicBezTo>
                    <a:pt x="131232" y="154367"/>
                    <a:pt x="132558" y="151106"/>
                    <a:pt x="132481" y="147738"/>
                  </a:cubicBezTo>
                  <a:cubicBezTo>
                    <a:pt x="133625" y="147052"/>
                    <a:pt x="134356" y="145863"/>
                    <a:pt x="134463" y="144537"/>
                  </a:cubicBezTo>
                  <a:cubicBezTo>
                    <a:pt x="134463" y="141946"/>
                    <a:pt x="121661" y="134783"/>
                    <a:pt x="119223" y="134022"/>
                  </a:cubicBezTo>
                  <a:cubicBezTo>
                    <a:pt x="118461" y="130059"/>
                    <a:pt x="113584" y="124573"/>
                    <a:pt x="98649" y="126554"/>
                  </a:cubicBezTo>
                  <a:cubicBezTo>
                    <a:pt x="91638" y="127469"/>
                    <a:pt x="86456" y="125639"/>
                    <a:pt x="88895" y="121525"/>
                  </a:cubicBezTo>
                  <a:cubicBezTo>
                    <a:pt x="88895" y="121525"/>
                    <a:pt x="87981" y="120610"/>
                    <a:pt x="87371" y="121525"/>
                  </a:cubicBezTo>
                  <a:cubicBezTo>
                    <a:pt x="86761" y="122439"/>
                    <a:pt x="83561" y="127773"/>
                    <a:pt x="89657" y="130821"/>
                  </a:cubicBezTo>
                  <a:cubicBezTo>
                    <a:pt x="93940" y="133000"/>
                    <a:pt x="96728" y="137298"/>
                    <a:pt x="96972" y="142099"/>
                  </a:cubicBezTo>
                  <a:cubicBezTo>
                    <a:pt x="96972" y="143623"/>
                    <a:pt x="95296" y="143775"/>
                    <a:pt x="94991" y="142099"/>
                  </a:cubicBezTo>
                  <a:cubicBezTo>
                    <a:pt x="90877" y="132513"/>
                    <a:pt x="79766" y="128078"/>
                    <a:pt x="70165" y="132193"/>
                  </a:cubicBezTo>
                  <a:cubicBezTo>
                    <a:pt x="68931" y="132726"/>
                    <a:pt x="67742" y="133382"/>
                    <a:pt x="66644" y="134174"/>
                  </a:cubicBezTo>
                  <a:cubicBezTo>
                    <a:pt x="67498" y="139676"/>
                    <a:pt x="71933" y="143912"/>
                    <a:pt x="77465" y="144537"/>
                  </a:cubicBezTo>
                  <a:cubicBezTo>
                    <a:pt x="80178" y="144385"/>
                    <a:pt x="82342" y="142221"/>
                    <a:pt x="82494" y="139508"/>
                  </a:cubicBezTo>
                  <a:cubicBezTo>
                    <a:pt x="82494" y="138136"/>
                    <a:pt x="82494" y="138289"/>
                    <a:pt x="83561" y="139508"/>
                  </a:cubicBezTo>
                  <a:cubicBezTo>
                    <a:pt x="85238" y="143623"/>
                    <a:pt x="79141" y="152157"/>
                    <a:pt x="69998" y="146976"/>
                  </a:cubicBezTo>
                  <a:cubicBezTo>
                    <a:pt x="63993" y="153712"/>
                    <a:pt x="62240" y="163221"/>
                    <a:pt x="65425" y="171664"/>
                  </a:cubicBezTo>
                  <a:cubicBezTo>
                    <a:pt x="67102" y="179284"/>
                    <a:pt x="63444" y="186904"/>
                    <a:pt x="56587" y="183094"/>
                  </a:cubicBezTo>
                  <a:cubicBezTo>
                    <a:pt x="56587" y="183094"/>
                    <a:pt x="56587" y="183094"/>
                    <a:pt x="56587" y="183094"/>
                  </a:cubicBezTo>
                  <a:cubicBezTo>
                    <a:pt x="58201" y="187514"/>
                    <a:pt x="63109" y="189800"/>
                    <a:pt x="67528" y="188169"/>
                  </a:cubicBezTo>
                  <a:cubicBezTo>
                    <a:pt x="68017" y="188002"/>
                    <a:pt x="68489" y="187773"/>
                    <a:pt x="68931" y="187514"/>
                  </a:cubicBezTo>
                  <a:close/>
                  <a:moveTo>
                    <a:pt x="119679" y="142251"/>
                  </a:moveTo>
                  <a:cubicBezTo>
                    <a:pt x="117211" y="145452"/>
                    <a:pt x="112624" y="146061"/>
                    <a:pt x="109423" y="143592"/>
                  </a:cubicBezTo>
                  <a:cubicBezTo>
                    <a:pt x="107716" y="142282"/>
                    <a:pt x="106680" y="140285"/>
                    <a:pt x="106573" y="138136"/>
                  </a:cubicBezTo>
                  <a:cubicBezTo>
                    <a:pt x="115413" y="136460"/>
                    <a:pt x="119223" y="137374"/>
                    <a:pt x="119679" y="141032"/>
                  </a:cubicBezTo>
                  <a:close/>
                  <a:moveTo>
                    <a:pt x="393999" y="160692"/>
                  </a:moveTo>
                  <a:cubicBezTo>
                    <a:pt x="389428" y="160692"/>
                    <a:pt x="385008" y="158710"/>
                    <a:pt x="384247" y="155205"/>
                  </a:cubicBezTo>
                  <a:cubicBezTo>
                    <a:pt x="384247" y="154291"/>
                    <a:pt x="383180" y="153986"/>
                    <a:pt x="382875" y="155205"/>
                  </a:cubicBezTo>
                  <a:cubicBezTo>
                    <a:pt x="381168" y="159686"/>
                    <a:pt x="383423" y="164700"/>
                    <a:pt x="387904" y="166422"/>
                  </a:cubicBezTo>
                  <a:cubicBezTo>
                    <a:pt x="389169" y="166894"/>
                    <a:pt x="390525" y="167077"/>
                    <a:pt x="391867" y="166940"/>
                  </a:cubicBezTo>
                  <a:cubicBezTo>
                    <a:pt x="397809" y="166940"/>
                    <a:pt x="401315" y="162673"/>
                    <a:pt x="410002" y="161149"/>
                  </a:cubicBezTo>
                  <a:cubicBezTo>
                    <a:pt x="413812" y="161149"/>
                    <a:pt x="416403" y="161149"/>
                    <a:pt x="416403" y="159929"/>
                  </a:cubicBezTo>
                  <a:cubicBezTo>
                    <a:pt x="416403" y="158710"/>
                    <a:pt x="410764" y="158710"/>
                    <a:pt x="410002" y="158710"/>
                  </a:cubicBezTo>
                  <a:cubicBezTo>
                    <a:pt x="400705" y="158253"/>
                    <a:pt x="399334" y="159472"/>
                    <a:pt x="393695" y="159472"/>
                  </a:cubicBezTo>
                  <a:close/>
                  <a:moveTo>
                    <a:pt x="482849" y="182789"/>
                  </a:moveTo>
                  <a:cubicBezTo>
                    <a:pt x="482849" y="181875"/>
                    <a:pt x="482849" y="182789"/>
                    <a:pt x="482849" y="182789"/>
                  </a:cubicBezTo>
                  <a:cubicBezTo>
                    <a:pt x="475991" y="186142"/>
                    <a:pt x="472333" y="178979"/>
                    <a:pt x="474009" y="171359"/>
                  </a:cubicBezTo>
                  <a:cubicBezTo>
                    <a:pt x="477195" y="162917"/>
                    <a:pt x="475443" y="153407"/>
                    <a:pt x="469438" y="146671"/>
                  </a:cubicBezTo>
                  <a:cubicBezTo>
                    <a:pt x="465704" y="149551"/>
                    <a:pt x="460340" y="148850"/>
                    <a:pt x="457475" y="145116"/>
                  </a:cubicBezTo>
                  <a:cubicBezTo>
                    <a:pt x="456164" y="143440"/>
                    <a:pt x="455539" y="141322"/>
                    <a:pt x="455722" y="139203"/>
                  </a:cubicBezTo>
                  <a:cubicBezTo>
                    <a:pt x="455722" y="138136"/>
                    <a:pt x="456941" y="137984"/>
                    <a:pt x="456941" y="139203"/>
                  </a:cubicBezTo>
                  <a:cubicBezTo>
                    <a:pt x="457093" y="141916"/>
                    <a:pt x="459258" y="144080"/>
                    <a:pt x="461970" y="144232"/>
                  </a:cubicBezTo>
                  <a:cubicBezTo>
                    <a:pt x="467472" y="143562"/>
                    <a:pt x="471891" y="139340"/>
                    <a:pt x="472791" y="133869"/>
                  </a:cubicBezTo>
                  <a:cubicBezTo>
                    <a:pt x="464302" y="127804"/>
                    <a:pt x="452491" y="129770"/>
                    <a:pt x="446425" y="138273"/>
                  </a:cubicBezTo>
                  <a:cubicBezTo>
                    <a:pt x="445648" y="139371"/>
                    <a:pt x="444978" y="140544"/>
                    <a:pt x="444444" y="141794"/>
                  </a:cubicBezTo>
                  <a:cubicBezTo>
                    <a:pt x="444444" y="143318"/>
                    <a:pt x="442311" y="143166"/>
                    <a:pt x="442463" y="141794"/>
                  </a:cubicBezTo>
                  <a:cubicBezTo>
                    <a:pt x="442707" y="136994"/>
                    <a:pt x="445496" y="132696"/>
                    <a:pt x="449778" y="130516"/>
                  </a:cubicBezTo>
                  <a:cubicBezTo>
                    <a:pt x="455874" y="127469"/>
                    <a:pt x="453741" y="122896"/>
                    <a:pt x="452064" y="121220"/>
                  </a:cubicBezTo>
                  <a:cubicBezTo>
                    <a:pt x="450388" y="119543"/>
                    <a:pt x="450083" y="121220"/>
                    <a:pt x="450540" y="121220"/>
                  </a:cubicBezTo>
                  <a:cubicBezTo>
                    <a:pt x="452979" y="125335"/>
                    <a:pt x="447797" y="127163"/>
                    <a:pt x="440786" y="126249"/>
                  </a:cubicBezTo>
                  <a:cubicBezTo>
                    <a:pt x="425546" y="124268"/>
                    <a:pt x="420975" y="129754"/>
                    <a:pt x="420213" y="133717"/>
                  </a:cubicBezTo>
                  <a:cubicBezTo>
                    <a:pt x="416859" y="134479"/>
                    <a:pt x="404211" y="141642"/>
                    <a:pt x="404211" y="144232"/>
                  </a:cubicBezTo>
                  <a:cubicBezTo>
                    <a:pt x="404317" y="145558"/>
                    <a:pt x="405049" y="146747"/>
                    <a:pt x="406192" y="147433"/>
                  </a:cubicBezTo>
                  <a:cubicBezTo>
                    <a:pt x="406116" y="150801"/>
                    <a:pt x="407441" y="154062"/>
                    <a:pt x="409850" y="156424"/>
                  </a:cubicBezTo>
                  <a:cubicBezTo>
                    <a:pt x="425090" y="146823"/>
                    <a:pt x="430119" y="156424"/>
                    <a:pt x="428442" y="162063"/>
                  </a:cubicBezTo>
                  <a:cubicBezTo>
                    <a:pt x="428442" y="162063"/>
                    <a:pt x="425699" y="164349"/>
                    <a:pt x="415031" y="164349"/>
                  </a:cubicBezTo>
                  <a:cubicBezTo>
                    <a:pt x="415199" y="166087"/>
                    <a:pt x="415656" y="167794"/>
                    <a:pt x="416403" y="169379"/>
                  </a:cubicBezTo>
                  <a:cubicBezTo>
                    <a:pt x="415061" y="171009"/>
                    <a:pt x="414756" y="173249"/>
                    <a:pt x="415641" y="175169"/>
                  </a:cubicBezTo>
                  <a:cubicBezTo>
                    <a:pt x="420182" y="172289"/>
                    <a:pt x="425531" y="171009"/>
                    <a:pt x="430881" y="171512"/>
                  </a:cubicBezTo>
                  <a:cubicBezTo>
                    <a:pt x="430881" y="171512"/>
                    <a:pt x="436976" y="180809"/>
                    <a:pt x="414574" y="185076"/>
                  </a:cubicBezTo>
                  <a:cubicBezTo>
                    <a:pt x="397063" y="188901"/>
                    <a:pt x="384658" y="204491"/>
                    <a:pt x="384856" y="222413"/>
                  </a:cubicBezTo>
                  <a:lnTo>
                    <a:pt x="384856" y="222413"/>
                  </a:lnTo>
                  <a:cubicBezTo>
                    <a:pt x="403144" y="218909"/>
                    <a:pt x="411373" y="237653"/>
                    <a:pt x="434995" y="235672"/>
                  </a:cubicBezTo>
                  <a:cubicBezTo>
                    <a:pt x="433777" y="232015"/>
                    <a:pt x="433777" y="228052"/>
                    <a:pt x="434995" y="224395"/>
                  </a:cubicBezTo>
                  <a:cubicBezTo>
                    <a:pt x="436840" y="228738"/>
                    <a:pt x="440192" y="232258"/>
                    <a:pt x="444444" y="234301"/>
                  </a:cubicBezTo>
                  <a:cubicBezTo>
                    <a:pt x="450327" y="233402"/>
                    <a:pt x="455706" y="230491"/>
                    <a:pt x="459684" y="226071"/>
                  </a:cubicBezTo>
                  <a:cubicBezTo>
                    <a:pt x="453345" y="220494"/>
                    <a:pt x="451927" y="211182"/>
                    <a:pt x="456331" y="203973"/>
                  </a:cubicBezTo>
                  <a:cubicBezTo>
                    <a:pt x="460263" y="209414"/>
                    <a:pt x="467578" y="211166"/>
                    <a:pt x="473553" y="208088"/>
                  </a:cubicBezTo>
                  <a:cubicBezTo>
                    <a:pt x="474620" y="208088"/>
                    <a:pt x="473553" y="206869"/>
                    <a:pt x="473553" y="206716"/>
                  </a:cubicBezTo>
                  <a:cubicBezTo>
                    <a:pt x="458313" y="201535"/>
                    <a:pt x="468067" y="188429"/>
                    <a:pt x="468981" y="187057"/>
                  </a:cubicBezTo>
                  <a:cubicBezTo>
                    <a:pt x="472745" y="189891"/>
                    <a:pt x="478094" y="189145"/>
                    <a:pt x="480929" y="185380"/>
                  </a:cubicBezTo>
                  <a:cubicBezTo>
                    <a:pt x="481767" y="184253"/>
                    <a:pt x="482331" y="182957"/>
                    <a:pt x="482544" y="181570"/>
                  </a:cubicBezTo>
                  <a:close/>
                  <a:moveTo>
                    <a:pt x="431795" y="138136"/>
                  </a:moveTo>
                  <a:cubicBezTo>
                    <a:pt x="429967" y="146061"/>
                    <a:pt x="423108" y="147128"/>
                    <a:pt x="418689" y="142251"/>
                  </a:cubicBezTo>
                  <a:cubicBezTo>
                    <a:pt x="418841" y="137374"/>
                    <a:pt x="422651" y="136460"/>
                    <a:pt x="431490" y="136917"/>
                  </a:cubicBezTo>
                  <a:close/>
                  <a:moveTo>
                    <a:pt x="265222" y="5396"/>
                  </a:moveTo>
                  <a:cubicBezTo>
                    <a:pt x="265206" y="7087"/>
                    <a:pt x="265740" y="8749"/>
                    <a:pt x="266746" y="10120"/>
                  </a:cubicBezTo>
                  <a:cubicBezTo>
                    <a:pt x="268118" y="12102"/>
                    <a:pt x="267965" y="13168"/>
                    <a:pt x="266746" y="13778"/>
                  </a:cubicBezTo>
                  <a:cubicBezTo>
                    <a:pt x="265526" y="14387"/>
                    <a:pt x="265070" y="14692"/>
                    <a:pt x="263088" y="13778"/>
                  </a:cubicBezTo>
                  <a:cubicBezTo>
                    <a:pt x="261671" y="12863"/>
                    <a:pt x="260040" y="12345"/>
                    <a:pt x="258364" y="12254"/>
                  </a:cubicBezTo>
                  <a:cubicBezTo>
                    <a:pt x="255803" y="11980"/>
                    <a:pt x="253502" y="13808"/>
                    <a:pt x="253182" y="16369"/>
                  </a:cubicBezTo>
                  <a:cubicBezTo>
                    <a:pt x="253411" y="18883"/>
                    <a:pt x="255636" y="20742"/>
                    <a:pt x="258150" y="20514"/>
                  </a:cubicBezTo>
                  <a:cubicBezTo>
                    <a:pt x="258226" y="20499"/>
                    <a:pt x="258288" y="20499"/>
                    <a:pt x="258364" y="20483"/>
                  </a:cubicBezTo>
                  <a:cubicBezTo>
                    <a:pt x="260055" y="20469"/>
                    <a:pt x="261701" y="19935"/>
                    <a:pt x="263088" y="18959"/>
                  </a:cubicBezTo>
                  <a:cubicBezTo>
                    <a:pt x="265070" y="17588"/>
                    <a:pt x="266137" y="17893"/>
                    <a:pt x="266746" y="18959"/>
                  </a:cubicBezTo>
                  <a:cubicBezTo>
                    <a:pt x="266989" y="23257"/>
                    <a:pt x="266639" y="27570"/>
                    <a:pt x="265679" y="31761"/>
                  </a:cubicBezTo>
                  <a:cubicBezTo>
                    <a:pt x="261366" y="32432"/>
                    <a:pt x="257968" y="35830"/>
                    <a:pt x="257297" y="40143"/>
                  </a:cubicBezTo>
                  <a:cubicBezTo>
                    <a:pt x="257297" y="47001"/>
                    <a:pt x="264612" y="50811"/>
                    <a:pt x="268880" y="53097"/>
                  </a:cubicBezTo>
                  <a:cubicBezTo>
                    <a:pt x="273146" y="50811"/>
                    <a:pt x="280462" y="47001"/>
                    <a:pt x="280462" y="40143"/>
                  </a:cubicBezTo>
                  <a:cubicBezTo>
                    <a:pt x="279791" y="35830"/>
                    <a:pt x="276393" y="32432"/>
                    <a:pt x="272079" y="31761"/>
                  </a:cubicBezTo>
                  <a:cubicBezTo>
                    <a:pt x="271119" y="27570"/>
                    <a:pt x="270769" y="23257"/>
                    <a:pt x="271013" y="18959"/>
                  </a:cubicBezTo>
                  <a:cubicBezTo>
                    <a:pt x="271013" y="18959"/>
                    <a:pt x="272690" y="18045"/>
                    <a:pt x="274671" y="18959"/>
                  </a:cubicBezTo>
                  <a:cubicBezTo>
                    <a:pt x="276042" y="19965"/>
                    <a:pt x="277703" y="20499"/>
                    <a:pt x="279395" y="20483"/>
                  </a:cubicBezTo>
                  <a:cubicBezTo>
                    <a:pt x="281818" y="20819"/>
                    <a:pt x="284043" y="19143"/>
                    <a:pt x="284394" y="16719"/>
                  </a:cubicBezTo>
                  <a:cubicBezTo>
                    <a:pt x="284409" y="16612"/>
                    <a:pt x="284424" y="16491"/>
                    <a:pt x="284424" y="16369"/>
                  </a:cubicBezTo>
                  <a:cubicBezTo>
                    <a:pt x="284180" y="13854"/>
                    <a:pt x="281955" y="12010"/>
                    <a:pt x="279441" y="12254"/>
                  </a:cubicBezTo>
                  <a:cubicBezTo>
                    <a:pt x="279426" y="12254"/>
                    <a:pt x="279410" y="12254"/>
                    <a:pt x="279395" y="12254"/>
                  </a:cubicBezTo>
                  <a:cubicBezTo>
                    <a:pt x="277703" y="12315"/>
                    <a:pt x="276073" y="12849"/>
                    <a:pt x="274671" y="13778"/>
                  </a:cubicBezTo>
                  <a:cubicBezTo>
                    <a:pt x="272690" y="15149"/>
                    <a:pt x="271623" y="14997"/>
                    <a:pt x="271013" y="13778"/>
                  </a:cubicBezTo>
                  <a:cubicBezTo>
                    <a:pt x="270403" y="12559"/>
                    <a:pt x="270099" y="12102"/>
                    <a:pt x="271013" y="10120"/>
                  </a:cubicBezTo>
                  <a:cubicBezTo>
                    <a:pt x="272019" y="8749"/>
                    <a:pt x="272552" y="7087"/>
                    <a:pt x="272537" y="5396"/>
                  </a:cubicBezTo>
                  <a:cubicBezTo>
                    <a:pt x="273162" y="3125"/>
                    <a:pt x="271821" y="778"/>
                    <a:pt x="269550" y="153"/>
                  </a:cubicBezTo>
                  <a:cubicBezTo>
                    <a:pt x="267279" y="-472"/>
                    <a:pt x="264932" y="870"/>
                    <a:pt x="264308" y="3140"/>
                  </a:cubicBezTo>
                  <a:cubicBezTo>
                    <a:pt x="264110" y="3872"/>
                    <a:pt x="264110" y="4649"/>
                    <a:pt x="264308" y="5396"/>
                  </a:cubicBezTo>
                  <a:close/>
                  <a:moveTo>
                    <a:pt x="269336" y="55840"/>
                  </a:moveTo>
                  <a:cubicBezTo>
                    <a:pt x="264795" y="55840"/>
                    <a:pt x="261107" y="59528"/>
                    <a:pt x="261107" y="64070"/>
                  </a:cubicBezTo>
                  <a:cubicBezTo>
                    <a:pt x="261107" y="68612"/>
                    <a:pt x="264795" y="72299"/>
                    <a:pt x="269336" y="72299"/>
                  </a:cubicBezTo>
                  <a:cubicBezTo>
                    <a:pt x="273878" y="72299"/>
                    <a:pt x="277567" y="68612"/>
                    <a:pt x="277567" y="64070"/>
                  </a:cubicBezTo>
                  <a:cubicBezTo>
                    <a:pt x="278252" y="59574"/>
                    <a:pt x="275158" y="55383"/>
                    <a:pt x="270663" y="54697"/>
                  </a:cubicBezTo>
                  <a:cubicBezTo>
                    <a:pt x="270114" y="54621"/>
                    <a:pt x="269580" y="54591"/>
                    <a:pt x="269032" y="54621"/>
                  </a:cubicBezTo>
                  <a:close/>
                  <a:moveTo>
                    <a:pt x="269336" y="135393"/>
                  </a:moveTo>
                  <a:cubicBezTo>
                    <a:pt x="286832" y="134936"/>
                    <a:pt x="304297" y="137085"/>
                    <a:pt x="321153" y="141794"/>
                  </a:cubicBezTo>
                  <a:cubicBezTo>
                    <a:pt x="321153" y="125030"/>
                    <a:pt x="321153" y="115733"/>
                    <a:pt x="330907" y="117105"/>
                  </a:cubicBezTo>
                  <a:cubicBezTo>
                    <a:pt x="325572" y="103084"/>
                    <a:pt x="348128" y="97446"/>
                    <a:pt x="348128" y="79158"/>
                  </a:cubicBezTo>
                  <a:cubicBezTo>
                    <a:pt x="348128" y="67118"/>
                    <a:pt x="339593" y="65746"/>
                    <a:pt x="337155" y="65746"/>
                  </a:cubicBezTo>
                  <a:cubicBezTo>
                    <a:pt x="329687" y="65746"/>
                    <a:pt x="330754" y="70623"/>
                    <a:pt x="324505" y="70623"/>
                  </a:cubicBezTo>
                  <a:cubicBezTo>
                    <a:pt x="323591" y="70623"/>
                    <a:pt x="322829" y="70623"/>
                    <a:pt x="322829" y="70623"/>
                  </a:cubicBezTo>
                  <a:cubicBezTo>
                    <a:pt x="322829" y="70623"/>
                    <a:pt x="324658" y="76414"/>
                    <a:pt x="327553" y="76414"/>
                  </a:cubicBezTo>
                  <a:cubicBezTo>
                    <a:pt x="330449" y="76414"/>
                    <a:pt x="331516" y="72452"/>
                    <a:pt x="334411" y="72452"/>
                  </a:cubicBezTo>
                  <a:cubicBezTo>
                    <a:pt x="337307" y="72452"/>
                    <a:pt x="337460" y="73519"/>
                    <a:pt x="337460" y="77481"/>
                  </a:cubicBezTo>
                  <a:cubicBezTo>
                    <a:pt x="336560" y="86259"/>
                    <a:pt x="332628" y="94458"/>
                    <a:pt x="326334" y="100646"/>
                  </a:cubicBezTo>
                  <a:cubicBezTo>
                    <a:pt x="325099" y="98802"/>
                    <a:pt x="323058" y="97674"/>
                    <a:pt x="320848" y="97598"/>
                  </a:cubicBezTo>
                  <a:cubicBezTo>
                    <a:pt x="316794" y="98147"/>
                    <a:pt x="313868" y="101743"/>
                    <a:pt x="314142" y="105828"/>
                  </a:cubicBezTo>
                  <a:cubicBezTo>
                    <a:pt x="314127" y="107352"/>
                    <a:pt x="314432" y="108860"/>
                    <a:pt x="315056" y="110247"/>
                  </a:cubicBezTo>
                  <a:cubicBezTo>
                    <a:pt x="313487" y="111238"/>
                    <a:pt x="311719" y="111862"/>
                    <a:pt x="309875" y="112076"/>
                  </a:cubicBezTo>
                  <a:cubicBezTo>
                    <a:pt x="306431" y="112366"/>
                    <a:pt x="303413" y="109820"/>
                    <a:pt x="303124" y="106376"/>
                  </a:cubicBezTo>
                  <a:cubicBezTo>
                    <a:pt x="303078" y="105888"/>
                    <a:pt x="303093" y="105401"/>
                    <a:pt x="303170" y="104913"/>
                  </a:cubicBezTo>
                  <a:cubicBezTo>
                    <a:pt x="303170" y="91654"/>
                    <a:pt x="320848" y="79919"/>
                    <a:pt x="320848" y="63156"/>
                  </a:cubicBezTo>
                  <a:cubicBezTo>
                    <a:pt x="321289" y="54743"/>
                    <a:pt x="314843" y="47580"/>
                    <a:pt x="306446" y="47123"/>
                  </a:cubicBezTo>
                  <a:cubicBezTo>
                    <a:pt x="305760" y="47092"/>
                    <a:pt x="305075" y="47092"/>
                    <a:pt x="304389" y="47153"/>
                  </a:cubicBezTo>
                  <a:cubicBezTo>
                    <a:pt x="292349" y="47153"/>
                    <a:pt x="294483" y="58126"/>
                    <a:pt x="284120" y="58126"/>
                  </a:cubicBezTo>
                  <a:cubicBezTo>
                    <a:pt x="284120" y="58126"/>
                    <a:pt x="283205" y="58126"/>
                    <a:pt x="283205" y="58126"/>
                  </a:cubicBezTo>
                  <a:cubicBezTo>
                    <a:pt x="283205" y="58126"/>
                    <a:pt x="285034" y="64984"/>
                    <a:pt x="290368" y="64984"/>
                  </a:cubicBezTo>
                  <a:cubicBezTo>
                    <a:pt x="295702" y="64984"/>
                    <a:pt x="297835" y="54926"/>
                    <a:pt x="302865" y="54926"/>
                  </a:cubicBezTo>
                  <a:cubicBezTo>
                    <a:pt x="304846" y="54926"/>
                    <a:pt x="307741" y="56145"/>
                    <a:pt x="307741" y="62851"/>
                  </a:cubicBezTo>
                  <a:cubicBezTo>
                    <a:pt x="307010" y="70501"/>
                    <a:pt x="304846" y="77953"/>
                    <a:pt x="301341" y="84796"/>
                  </a:cubicBezTo>
                  <a:cubicBezTo>
                    <a:pt x="300000" y="83334"/>
                    <a:pt x="298140" y="82465"/>
                    <a:pt x="296159" y="82358"/>
                  </a:cubicBezTo>
                  <a:cubicBezTo>
                    <a:pt x="291420" y="82846"/>
                    <a:pt x="287944" y="87052"/>
                    <a:pt x="288386" y="91807"/>
                  </a:cubicBezTo>
                  <a:cubicBezTo>
                    <a:pt x="288357" y="95007"/>
                    <a:pt x="289621" y="98086"/>
                    <a:pt x="291892" y="100341"/>
                  </a:cubicBezTo>
                  <a:cubicBezTo>
                    <a:pt x="289301" y="103694"/>
                    <a:pt x="286558" y="106437"/>
                    <a:pt x="283053" y="106437"/>
                  </a:cubicBezTo>
                  <a:cubicBezTo>
                    <a:pt x="275738" y="106437"/>
                    <a:pt x="272537" y="102322"/>
                    <a:pt x="272537" y="97903"/>
                  </a:cubicBezTo>
                  <a:cubicBezTo>
                    <a:pt x="272537" y="93483"/>
                    <a:pt x="281377" y="91349"/>
                    <a:pt x="281377" y="83882"/>
                  </a:cubicBezTo>
                  <a:cubicBezTo>
                    <a:pt x="281818" y="79858"/>
                    <a:pt x="278923" y="76247"/>
                    <a:pt x="274899" y="75820"/>
                  </a:cubicBezTo>
                  <a:cubicBezTo>
                    <a:pt x="274884" y="75805"/>
                    <a:pt x="274853" y="75805"/>
                    <a:pt x="274823" y="75805"/>
                  </a:cubicBezTo>
                  <a:cubicBezTo>
                    <a:pt x="271790" y="78822"/>
                    <a:pt x="266883" y="78822"/>
                    <a:pt x="263850" y="75805"/>
                  </a:cubicBezTo>
                  <a:cubicBezTo>
                    <a:pt x="259827" y="76201"/>
                    <a:pt x="256886" y="79783"/>
                    <a:pt x="257297" y="83806"/>
                  </a:cubicBezTo>
                  <a:cubicBezTo>
                    <a:pt x="257297" y="83836"/>
                    <a:pt x="257297" y="83852"/>
                    <a:pt x="257297" y="83882"/>
                  </a:cubicBezTo>
                  <a:cubicBezTo>
                    <a:pt x="257297" y="91349"/>
                    <a:pt x="265984" y="93179"/>
                    <a:pt x="265984" y="97903"/>
                  </a:cubicBezTo>
                  <a:cubicBezTo>
                    <a:pt x="265984" y="102627"/>
                    <a:pt x="262936" y="106437"/>
                    <a:pt x="255621" y="106437"/>
                  </a:cubicBezTo>
                  <a:cubicBezTo>
                    <a:pt x="251963" y="106437"/>
                    <a:pt x="249372" y="103694"/>
                    <a:pt x="246781" y="100341"/>
                  </a:cubicBezTo>
                  <a:cubicBezTo>
                    <a:pt x="249052" y="98086"/>
                    <a:pt x="250317" y="95007"/>
                    <a:pt x="250286" y="91807"/>
                  </a:cubicBezTo>
                  <a:cubicBezTo>
                    <a:pt x="250926" y="87097"/>
                    <a:pt x="247665" y="82754"/>
                    <a:pt x="242971" y="82053"/>
                  </a:cubicBezTo>
                  <a:cubicBezTo>
                    <a:pt x="240990" y="82160"/>
                    <a:pt x="239131" y="83028"/>
                    <a:pt x="237789" y="84492"/>
                  </a:cubicBezTo>
                  <a:cubicBezTo>
                    <a:pt x="234285" y="77649"/>
                    <a:pt x="232121" y="70196"/>
                    <a:pt x="231389" y="62546"/>
                  </a:cubicBezTo>
                  <a:cubicBezTo>
                    <a:pt x="231389" y="55840"/>
                    <a:pt x="234285" y="54621"/>
                    <a:pt x="236113" y="54621"/>
                  </a:cubicBezTo>
                  <a:cubicBezTo>
                    <a:pt x="241295" y="54621"/>
                    <a:pt x="242971" y="64679"/>
                    <a:pt x="248610" y="64679"/>
                  </a:cubicBezTo>
                  <a:cubicBezTo>
                    <a:pt x="254249" y="64679"/>
                    <a:pt x="255925" y="58583"/>
                    <a:pt x="255925" y="57822"/>
                  </a:cubicBezTo>
                  <a:cubicBezTo>
                    <a:pt x="255925" y="57059"/>
                    <a:pt x="255925" y="57822"/>
                    <a:pt x="255011" y="57822"/>
                  </a:cubicBezTo>
                  <a:cubicBezTo>
                    <a:pt x="244648" y="57822"/>
                    <a:pt x="246781" y="46849"/>
                    <a:pt x="234742" y="46849"/>
                  </a:cubicBezTo>
                  <a:cubicBezTo>
                    <a:pt x="226359" y="46163"/>
                    <a:pt x="218999" y="52411"/>
                    <a:pt x="218313" y="60794"/>
                  </a:cubicBezTo>
                  <a:cubicBezTo>
                    <a:pt x="218252" y="61479"/>
                    <a:pt x="218252" y="62165"/>
                    <a:pt x="218283" y="62851"/>
                  </a:cubicBezTo>
                  <a:cubicBezTo>
                    <a:pt x="218283" y="79615"/>
                    <a:pt x="235961" y="91349"/>
                    <a:pt x="235961" y="104609"/>
                  </a:cubicBezTo>
                  <a:cubicBezTo>
                    <a:pt x="236388" y="108113"/>
                    <a:pt x="233888" y="111314"/>
                    <a:pt x="230383" y="111741"/>
                  </a:cubicBezTo>
                  <a:cubicBezTo>
                    <a:pt x="230002" y="111786"/>
                    <a:pt x="229636" y="111786"/>
                    <a:pt x="229255" y="111771"/>
                  </a:cubicBezTo>
                  <a:cubicBezTo>
                    <a:pt x="227411" y="111558"/>
                    <a:pt x="225643" y="110933"/>
                    <a:pt x="224074" y="109942"/>
                  </a:cubicBezTo>
                  <a:cubicBezTo>
                    <a:pt x="224699" y="108556"/>
                    <a:pt x="225003" y="107047"/>
                    <a:pt x="224988" y="105523"/>
                  </a:cubicBezTo>
                  <a:cubicBezTo>
                    <a:pt x="225263" y="101438"/>
                    <a:pt x="222336" y="97842"/>
                    <a:pt x="218283" y="97293"/>
                  </a:cubicBezTo>
                  <a:cubicBezTo>
                    <a:pt x="216073" y="97369"/>
                    <a:pt x="214031" y="98497"/>
                    <a:pt x="212797" y="100341"/>
                  </a:cubicBezTo>
                  <a:cubicBezTo>
                    <a:pt x="206471" y="94154"/>
                    <a:pt x="202479" y="85970"/>
                    <a:pt x="201519" y="77176"/>
                  </a:cubicBezTo>
                  <a:cubicBezTo>
                    <a:pt x="201519" y="73214"/>
                    <a:pt x="203348" y="72147"/>
                    <a:pt x="204719" y="72147"/>
                  </a:cubicBezTo>
                  <a:cubicBezTo>
                    <a:pt x="206091" y="72147"/>
                    <a:pt x="207615" y="76109"/>
                    <a:pt x="211577" y="76109"/>
                  </a:cubicBezTo>
                  <a:cubicBezTo>
                    <a:pt x="215540" y="76109"/>
                    <a:pt x="216301" y="72452"/>
                    <a:pt x="216301" y="70319"/>
                  </a:cubicBezTo>
                  <a:cubicBezTo>
                    <a:pt x="216301" y="68185"/>
                    <a:pt x="215540" y="70319"/>
                    <a:pt x="214625" y="70319"/>
                  </a:cubicBezTo>
                  <a:cubicBezTo>
                    <a:pt x="208224" y="70319"/>
                    <a:pt x="209443" y="65442"/>
                    <a:pt x="201976" y="65442"/>
                  </a:cubicBezTo>
                  <a:cubicBezTo>
                    <a:pt x="199385" y="65442"/>
                    <a:pt x="190851" y="66813"/>
                    <a:pt x="190851" y="78853"/>
                  </a:cubicBezTo>
                  <a:cubicBezTo>
                    <a:pt x="190851" y="97141"/>
                    <a:pt x="213558" y="102779"/>
                    <a:pt x="208224" y="116800"/>
                  </a:cubicBezTo>
                  <a:cubicBezTo>
                    <a:pt x="217825" y="115429"/>
                    <a:pt x="217825" y="124725"/>
                    <a:pt x="217978" y="141489"/>
                  </a:cubicBezTo>
                  <a:cubicBezTo>
                    <a:pt x="234544" y="136536"/>
                    <a:pt x="251749" y="134067"/>
                    <a:pt x="269032" y="134174"/>
                  </a:cubicBezTo>
                  <a:close/>
                  <a:moveTo>
                    <a:pt x="208376" y="160234"/>
                  </a:moveTo>
                  <a:cubicBezTo>
                    <a:pt x="199385" y="162216"/>
                    <a:pt x="193136" y="164044"/>
                    <a:pt x="190089" y="164959"/>
                  </a:cubicBezTo>
                  <a:cubicBezTo>
                    <a:pt x="190089" y="160996"/>
                    <a:pt x="191613" y="157186"/>
                    <a:pt x="195270" y="156424"/>
                  </a:cubicBezTo>
                  <a:lnTo>
                    <a:pt x="195270" y="155358"/>
                  </a:lnTo>
                  <a:cubicBezTo>
                    <a:pt x="187193" y="150023"/>
                    <a:pt x="182926" y="160234"/>
                    <a:pt x="182773" y="160692"/>
                  </a:cubicBezTo>
                  <a:cubicBezTo>
                    <a:pt x="179878" y="160692"/>
                    <a:pt x="175611" y="160692"/>
                    <a:pt x="175611" y="165111"/>
                  </a:cubicBezTo>
                  <a:cubicBezTo>
                    <a:pt x="175611" y="176693"/>
                    <a:pt x="149245" y="183094"/>
                    <a:pt x="143150" y="184009"/>
                  </a:cubicBezTo>
                  <a:cubicBezTo>
                    <a:pt x="150312" y="187727"/>
                    <a:pt x="155768" y="194052"/>
                    <a:pt x="158390" y="201687"/>
                  </a:cubicBezTo>
                  <a:cubicBezTo>
                    <a:pt x="163708" y="195500"/>
                    <a:pt x="170124" y="190348"/>
                    <a:pt x="177287" y="186447"/>
                  </a:cubicBezTo>
                  <a:cubicBezTo>
                    <a:pt x="179421" y="186447"/>
                    <a:pt x="180183" y="189038"/>
                    <a:pt x="180335" y="190562"/>
                  </a:cubicBezTo>
                  <a:lnTo>
                    <a:pt x="181250" y="190562"/>
                  </a:lnTo>
                  <a:cubicBezTo>
                    <a:pt x="185212" y="184466"/>
                    <a:pt x="183383" y="182942"/>
                    <a:pt x="182926" y="181266"/>
                  </a:cubicBezTo>
                  <a:cubicBezTo>
                    <a:pt x="182362" y="178370"/>
                    <a:pt x="184267" y="175581"/>
                    <a:pt x="187147" y="175017"/>
                  </a:cubicBezTo>
                  <a:cubicBezTo>
                    <a:pt x="187818" y="174895"/>
                    <a:pt x="188504" y="174895"/>
                    <a:pt x="189174" y="175017"/>
                  </a:cubicBezTo>
                  <a:lnTo>
                    <a:pt x="189174" y="251979"/>
                  </a:lnTo>
                  <a:lnTo>
                    <a:pt x="185974" y="251979"/>
                  </a:lnTo>
                  <a:cubicBezTo>
                    <a:pt x="184602" y="251979"/>
                    <a:pt x="173325" y="242683"/>
                    <a:pt x="160523" y="233691"/>
                  </a:cubicBezTo>
                  <a:cubicBezTo>
                    <a:pt x="147721" y="224699"/>
                    <a:pt x="140711" y="230186"/>
                    <a:pt x="126081" y="238111"/>
                  </a:cubicBezTo>
                  <a:cubicBezTo>
                    <a:pt x="113995" y="244085"/>
                    <a:pt x="99883" y="244420"/>
                    <a:pt x="87523" y="239025"/>
                  </a:cubicBezTo>
                  <a:cubicBezTo>
                    <a:pt x="70912" y="250912"/>
                    <a:pt x="65273" y="284745"/>
                    <a:pt x="65273" y="284745"/>
                  </a:cubicBezTo>
                  <a:cubicBezTo>
                    <a:pt x="60838" y="286620"/>
                    <a:pt x="56068" y="287595"/>
                    <a:pt x="51252" y="287641"/>
                  </a:cubicBezTo>
                  <a:cubicBezTo>
                    <a:pt x="38755" y="287641"/>
                    <a:pt x="36012" y="280021"/>
                    <a:pt x="36012" y="275449"/>
                  </a:cubicBezTo>
                  <a:cubicBezTo>
                    <a:pt x="36012" y="255942"/>
                    <a:pt x="60549" y="247559"/>
                    <a:pt x="60549" y="228357"/>
                  </a:cubicBezTo>
                  <a:cubicBezTo>
                    <a:pt x="60793" y="215479"/>
                    <a:pt x="50552" y="204857"/>
                    <a:pt x="37673" y="204613"/>
                  </a:cubicBezTo>
                  <a:cubicBezTo>
                    <a:pt x="36713" y="204598"/>
                    <a:pt x="35753" y="204628"/>
                    <a:pt x="34793" y="204735"/>
                  </a:cubicBezTo>
                  <a:lnTo>
                    <a:pt x="14371" y="204735"/>
                  </a:lnTo>
                  <a:cubicBezTo>
                    <a:pt x="8748" y="204857"/>
                    <a:pt x="3719" y="201260"/>
                    <a:pt x="2027" y="195896"/>
                  </a:cubicBezTo>
                  <a:cubicBezTo>
                    <a:pt x="2027" y="194982"/>
                    <a:pt x="808" y="195896"/>
                    <a:pt x="1113" y="195896"/>
                  </a:cubicBezTo>
                  <a:cubicBezTo>
                    <a:pt x="1418" y="195896"/>
                    <a:pt x="46" y="199859"/>
                    <a:pt x="46" y="204735"/>
                  </a:cubicBezTo>
                  <a:cubicBezTo>
                    <a:pt x="-518" y="211105"/>
                    <a:pt x="4191" y="216729"/>
                    <a:pt x="10561" y="217293"/>
                  </a:cubicBezTo>
                  <a:cubicBezTo>
                    <a:pt x="11430" y="217369"/>
                    <a:pt x="12299" y="217354"/>
                    <a:pt x="13152" y="217232"/>
                  </a:cubicBezTo>
                  <a:cubicBezTo>
                    <a:pt x="16200" y="217293"/>
                    <a:pt x="19218" y="216668"/>
                    <a:pt x="21991" y="215403"/>
                  </a:cubicBezTo>
                  <a:cubicBezTo>
                    <a:pt x="21991" y="215403"/>
                    <a:pt x="23058" y="215403"/>
                    <a:pt x="21991" y="216165"/>
                  </a:cubicBezTo>
                  <a:cubicBezTo>
                    <a:pt x="18761" y="220249"/>
                    <a:pt x="17831" y="225721"/>
                    <a:pt x="19553" y="230643"/>
                  </a:cubicBezTo>
                  <a:lnTo>
                    <a:pt x="20468" y="230643"/>
                  </a:lnTo>
                  <a:cubicBezTo>
                    <a:pt x="22753" y="221362"/>
                    <a:pt x="31013" y="214779"/>
                    <a:pt x="40584" y="214641"/>
                  </a:cubicBezTo>
                  <a:cubicBezTo>
                    <a:pt x="47046" y="214062"/>
                    <a:pt x="52746" y="218832"/>
                    <a:pt x="53309" y="225294"/>
                  </a:cubicBezTo>
                  <a:cubicBezTo>
                    <a:pt x="53401" y="226209"/>
                    <a:pt x="53371" y="227138"/>
                    <a:pt x="53233" y="228052"/>
                  </a:cubicBezTo>
                  <a:cubicBezTo>
                    <a:pt x="53233" y="243292"/>
                    <a:pt x="25801" y="255179"/>
                    <a:pt x="25801" y="276668"/>
                  </a:cubicBezTo>
                  <a:cubicBezTo>
                    <a:pt x="25801" y="298156"/>
                    <a:pt x="48814" y="303186"/>
                    <a:pt x="62225" y="299680"/>
                  </a:cubicBezTo>
                  <a:cubicBezTo>
                    <a:pt x="62225" y="321626"/>
                    <a:pt x="36470" y="329093"/>
                    <a:pt x="35708" y="313396"/>
                  </a:cubicBezTo>
                  <a:cubicBezTo>
                    <a:pt x="35708" y="312634"/>
                    <a:pt x="35708" y="312482"/>
                    <a:pt x="34641" y="313396"/>
                  </a:cubicBezTo>
                  <a:cubicBezTo>
                    <a:pt x="31440" y="321169"/>
                    <a:pt x="32812" y="328636"/>
                    <a:pt x="42413" y="330160"/>
                  </a:cubicBezTo>
                  <a:cubicBezTo>
                    <a:pt x="42413" y="330160"/>
                    <a:pt x="42413" y="330160"/>
                    <a:pt x="42413" y="331075"/>
                  </a:cubicBezTo>
                  <a:cubicBezTo>
                    <a:pt x="32660" y="337171"/>
                    <a:pt x="37993" y="361555"/>
                    <a:pt x="38451" y="368413"/>
                  </a:cubicBezTo>
                  <a:cubicBezTo>
                    <a:pt x="38451" y="378623"/>
                    <a:pt x="29002" y="377404"/>
                    <a:pt x="28239" y="377099"/>
                  </a:cubicBezTo>
                  <a:cubicBezTo>
                    <a:pt x="27478" y="376795"/>
                    <a:pt x="27325" y="377099"/>
                    <a:pt x="28239" y="377862"/>
                  </a:cubicBezTo>
                  <a:cubicBezTo>
                    <a:pt x="32340" y="382327"/>
                    <a:pt x="39289" y="382616"/>
                    <a:pt x="43739" y="378517"/>
                  </a:cubicBezTo>
                  <a:cubicBezTo>
                    <a:pt x="43968" y="378303"/>
                    <a:pt x="44181" y="378090"/>
                    <a:pt x="44394" y="377862"/>
                  </a:cubicBezTo>
                  <a:cubicBezTo>
                    <a:pt x="51099" y="379995"/>
                    <a:pt x="46985" y="385786"/>
                    <a:pt x="42413" y="388682"/>
                  </a:cubicBezTo>
                  <a:cubicBezTo>
                    <a:pt x="42413" y="388682"/>
                    <a:pt x="42413" y="389749"/>
                    <a:pt x="42413" y="389749"/>
                  </a:cubicBezTo>
                  <a:cubicBezTo>
                    <a:pt x="42413" y="389749"/>
                    <a:pt x="53843" y="390663"/>
                    <a:pt x="55672" y="382433"/>
                  </a:cubicBezTo>
                  <a:cubicBezTo>
                    <a:pt x="58872" y="386076"/>
                    <a:pt x="64069" y="387189"/>
                    <a:pt x="68473" y="385177"/>
                  </a:cubicBezTo>
                  <a:cubicBezTo>
                    <a:pt x="70454" y="384110"/>
                    <a:pt x="80208" y="380605"/>
                    <a:pt x="81275" y="391578"/>
                  </a:cubicBezTo>
                  <a:cubicBezTo>
                    <a:pt x="81275" y="392339"/>
                    <a:pt x="81275" y="391578"/>
                    <a:pt x="82037" y="391578"/>
                  </a:cubicBezTo>
                  <a:cubicBezTo>
                    <a:pt x="85558" y="388072"/>
                    <a:pt x="85573" y="382373"/>
                    <a:pt x="82052" y="378868"/>
                  </a:cubicBezTo>
                  <a:cubicBezTo>
                    <a:pt x="80726" y="377526"/>
                    <a:pt x="79020" y="376642"/>
                    <a:pt x="77160" y="376338"/>
                  </a:cubicBezTo>
                  <a:cubicBezTo>
                    <a:pt x="80101" y="373442"/>
                    <a:pt x="84826" y="373473"/>
                    <a:pt x="87721" y="376414"/>
                  </a:cubicBezTo>
                  <a:cubicBezTo>
                    <a:pt x="88103" y="376810"/>
                    <a:pt x="88453" y="377237"/>
                    <a:pt x="88743" y="377709"/>
                  </a:cubicBezTo>
                  <a:cubicBezTo>
                    <a:pt x="88743" y="377709"/>
                    <a:pt x="88743" y="377709"/>
                    <a:pt x="89504" y="377709"/>
                  </a:cubicBezTo>
                  <a:cubicBezTo>
                    <a:pt x="89504" y="365974"/>
                    <a:pt x="80513" y="364908"/>
                    <a:pt x="74264" y="369937"/>
                  </a:cubicBezTo>
                  <a:cubicBezTo>
                    <a:pt x="74264" y="368718"/>
                    <a:pt x="71979" y="362164"/>
                    <a:pt x="81275" y="362469"/>
                  </a:cubicBezTo>
                  <a:lnTo>
                    <a:pt x="81275" y="361555"/>
                  </a:lnTo>
                  <a:cubicBezTo>
                    <a:pt x="78532" y="357516"/>
                    <a:pt x="73030" y="356465"/>
                    <a:pt x="68991" y="359223"/>
                  </a:cubicBezTo>
                  <a:cubicBezTo>
                    <a:pt x="67726" y="360077"/>
                    <a:pt x="66706" y="361250"/>
                    <a:pt x="66035" y="362622"/>
                  </a:cubicBezTo>
                  <a:cubicBezTo>
                    <a:pt x="62834" y="366432"/>
                    <a:pt x="54758" y="364908"/>
                    <a:pt x="53995" y="364755"/>
                  </a:cubicBezTo>
                  <a:cubicBezTo>
                    <a:pt x="56587" y="323912"/>
                    <a:pt x="92553" y="338390"/>
                    <a:pt x="97430" y="319035"/>
                  </a:cubicBezTo>
                  <a:cubicBezTo>
                    <a:pt x="97430" y="317969"/>
                    <a:pt x="98191" y="319035"/>
                    <a:pt x="98191" y="319035"/>
                  </a:cubicBezTo>
                  <a:cubicBezTo>
                    <a:pt x="99563" y="323912"/>
                    <a:pt x="111755" y="324522"/>
                    <a:pt x="113431" y="315073"/>
                  </a:cubicBezTo>
                  <a:cubicBezTo>
                    <a:pt x="113431" y="315073"/>
                    <a:pt x="113431" y="314006"/>
                    <a:pt x="113431" y="315073"/>
                  </a:cubicBezTo>
                  <a:cubicBezTo>
                    <a:pt x="103068" y="325436"/>
                    <a:pt x="79599" y="292975"/>
                    <a:pt x="111603" y="266609"/>
                  </a:cubicBezTo>
                  <a:cubicBezTo>
                    <a:pt x="128290" y="250333"/>
                    <a:pt x="154549" y="249221"/>
                    <a:pt x="172563" y="264019"/>
                  </a:cubicBezTo>
                  <a:cubicBezTo>
                    <a:pt x="173126" y="266046"/>
                    <a:pt x="171953" y="268149"/>
                    <a:pt x="169926" y="268712"/>
                  </a:cubicBezTo>
                  <a:cubicBezTo>
                    <a:pt x="169896" y="268728"/>
                    <a:pt x="169850" y="268728"/>
                    <a:pt x="169820" y="268743"/>
                  </a:cubicBezTo>
                  <a:cubicBezTo>
                    <a:pt x="169820" y="268743"/>
                    <a:pt x="169820" y="268743"/>
                    <a:pt x="169820" y="268743"/>
                  </a:cubicBezTo>
                  <a:cubicBezTo>
                    <a:pt x="172593" y="269993"/>
                    <a:pt x="175855" y="269322"/>
                    <a:pt x="177896" y="267067"/>
                  </a:cubicBezTo>
                  <a:cubicBezTo>
                    <a:pt x="183688" y="271029"/>
                    <a:pt x="177896" y="276211"/>
                    <a:pt x="176373" y="277735"/>
                  </a:cubicBezTo>
                  <a:cubicBezTo>
                    <a:pt x="174849" y="279259"/>
                    <a:pt x="176373" y="278497"/>
                    <a:pt x="176373" y="278497"/>
                  </a:cubicBezTo>
                  <a:cubicBezTo>
                    <a:pt x="181173" y="278893"/>
                    <a:pt x="185516" y="275616"/>
                    <a:pt x="186431" y="270877"/>
                  </a:cubicBezTo>
                  <a:lnTo>
                    <a:pt x="187345" y="270877"/>
                  </a:lnTo>
                  <a:lnTo>
                    <a:pt x="187345" y="295413"/>
                  </a:lnTo>
                  <a:cubicBezTo>
                    <a:pt x="187345" y="328484"/>
                    <a:pt x="225445" y="333056"/>
                    <a:pt x="267203" y="361098"/>
                  </a:cubicBezTo>
                  <a:cubicBezTo>
                    <a:pt x="308961" y="333056"/>
                    <a:pt x="347061" y="328484"/>
                    <a:pt x="347061" y="295413"/>
                  </a:cubicBezTo>
                  <a:lnTo>
                    <a:pt x="347061" y="272249"/>
                  </a:lnTo>
                  <a:lnTo>
                    <a:pt x="347975" y="272249"/>
                  </a:lnTo>
                  <a:cubicBezTo>
                    <a:pt x="348890" y="276988"/>
                    <a:pt x="353233" y="280265"/>
                    <a:pt x="358033" y="279869"/>
                  </a:cubicBezTo>
                  <a:cubicBezTo>
                    <a:pt x="358033" y="279869"/>
                    <a:pt x="358795" y="279869"/>
                    <a:pt x="358033" y="279106"/>
                  </a:cubicBezTo>
                  <a:cubicBezTo>
                    <a:pt x="357271" y="278344"/>
                    <a:pt x="350718" y="272401"/>
                    <a:pt x="356510" y="268439"/>
                  </a:cubicBezTo>
                  <a:cubicBezTo>
                    <a:pt x="358551" y="270694"/>
                    <a:pt x="361813" y="271364"/>
                    <a:pt x="364586" y="270115"/>
                  </a:cubicBezTo>
                  <a:cubicBezTo>
                    <a:pt x="364586" y="270115"/>
                    <a:pt x="364586" y="270115"/>
                    <a:pt x="364586" y="270115"/>
                  </a:cubicBezTo>
                  <a:cubicBezTo>
                    <a:pt x="362559" y="269520"/>
                    <a:pt x="361401" y="267417"/>
                    <a:pt x="361996" y="265390"/>
                  </a:cubicBezTo>
                  <a:cubicBezTo>
                    <a:pt x="380010" y="250592"/>
                    <a:pt x="406268" y="251705"/>
                    <a:pt x="422956" y="267981"/>
                  </a:cubicBezTo>
                  <a:cubicBezTo>
                    <a:pt x="454959" y="294346"/>
                    <a:pt x="431490" y="326808"/>
                    <a:pt x="421127" y="316444"/>
                  </a:cubicBezTo>
                  <a:cubicBezTo>
                    <a:pt x="421127" y="316444"/>
                    <a:pt x="421127" y="316444"/>
                    <a:pt x="421127" y="316444"/>
                  </a:cubicBezTo>
                  <a:cubicBezTo>
                    <a:pt x="423413" y="325893"/>
                    <a:pt x="436367" y="325283"/>
                    <a:pt x="436367" y="320407"/>
                  </a:cubicBezTo>
                  <a:cubicBezTo>
                    <a:pt x="436367" y="320407"/>
                    <a:pt x="436367" y="319645"/>
                    <a:pt x="436367" y="320407"/>
                  </a:cubicBezTo>
                  <a:cubicBezTo>
                    <a:pt x="441244" y="340219"/>
                    <a:pt x="477210" y="325741"/>
                    <a:pt x="479801" y="366127"/>
                  </a:cubicBezTo>
                  <a:cubicBezTo>
                    <a:pt x="479801" y="366127"/>
                    <a:pt x="470962" y="367803"/>
                    <a:pt x="467761" y="363993"/>
                  </a:cubicBezTo>
                  <a:cubicBezTo>
                    <a:pt x="465613" y="359620"/>
                    <a:pt x="460309" y="357806"/>
                    <a:pt x="455935" y="359970"/>
                  </a:cubicBezTo>
                  <a:cubicBezTo>
                    <a:pt x="454548" y="360640"/>
                    <a:pt x="453375" y="361661"/>
                    <a:pt x="452521" y="362926"/>
                  </a:cubicBezTo>
                  <a:lnTo>
                    <a:pt x="452521" y="363841"/>
                  </a:lnTo>
                  <a:cubicBezTo>
                    <a:pt x="461818" y="363841"/>
                    <a:pt x="459684" y="370089"/>
                    <a:pt x="459380" y="371309"/>
                  </a:cubicBezTo>
                  <a:cubicBezTo>
                    <a:pt x="453283" y="366279"/>
                    <a:pt x="444140" y="367346"/>
                    <a:pt x="444140" y="379081"/>
                  </a:cubicBezTo>
                  <a:cubicBezTo>
                    <a:pt x="444140" y="379995"/>
                    <a:pt x="444140" y="379843"/>
                    <a:pt x="444140" y="379081"/>
                  </a:cubicBezTo>
                  <a:cubicBezTo>
                    <a:pt x="446319" y="375576"/>
                    <a:pt x="450922" y="374509"/>
                    <a:pt x="454426" y="376688"/>
                  </a:cubicBezTo>
                  <a:cubicBezTo>
                    <a:pt x="454899" y="376978"/>
                    <a:pt x="455326" y="377328"/>
                    <a:pt x="455722" y="377709"/>
                  </a:cubicBezTo>
                  <a:cubicBezTo>
                    <a:pt x="450829" y="378517"/>
                    <a:pt x="447508" y="383150"/>
                    <a:pt x="448315" y="388042"/>
                  </a:cubicBezTo>
                  <a:cubicBezTo>
                    <a:pt x="448635" y="389901"/>
                    <a:pt x="449519" y="391623"/>
                    <a:pt x="450845" y="392949"/>
                  </a:cubicBezTo>
                  <a:cubicBezTo>
                    <a:pt x="450845" y="392949"/>
                    <a:pt x="450845" y="393863"/>
                    <a:pt x="450845" y="392949"/>
                  </a:cubicBezTo>
                  <a:cubicBezTo>
                    <a:pt x="451912" y="381976"/>
                    <a:pt x="461665" y="385482"/>
                    <a:pt x="463646" y="386549"/>
                  </a:cubicBezTo>
                  <a:cubicBezTo>
                    <a:pt x="468051" y="388560"/>
                    <a:pt x="473248" y="387448"/>
                    <a:pt x="476448" y="383805"/>
                  </a:cubicBezTo>
                  <a:cubicBezTo>
                    <a:pt x="478277" y="392035"/>
                    <a:pt x="488640" y="391120"/>
                    <a:pt x="489707" y="391120"/>
                  </a:cubicBezTo>
                  <a:cubicBezTo>
                    <a:pt x="490774" y="391120"/>
                    <a:pt x="490469" y="391120"/>
                    <a:pt x="489707" y="390053"/>
                  </a:cubicBezTo>
                  <a:cubicBezTo>
                    <a:pt x="485135" y="387158"/>
                    <a:pt x="481020" y="381367"/>
                    <a:pt x="487726" y="379233"/>
                  </a:cubicBezTo>
                  <a:cubicBezTo>
                    <a:pt x="491825" y="383699"/>
                    <a:pt x="498774" y="383988"/>
                    <a:pt x="503225" y="379889"/>
                  </a:cubicBezTo>
                  <a:cubicBezTo>
                    <a:pt x="503453" y="379675"/>
                    <a:pt x="503667" y="379462"/>
                    <a:pt x="503880" y="379233"/>
                  </a:cubicBezTo>
                  <a:cubicBezTo>
                    <a:pt x="503880" y="378471"/>
                    <a:pt x="503880" y="378319"/>
                    <a:pt x="503880" y="378471"/>
                  </a:cubicBezTo>
                  <a:cubicBezTo>
                    <a:pt x="503880" y="378623"/>
                    <a:pt x="492908" y="379995"/>
                    <a:pt x="493670" y="369784"/>
                  </a:cubicBezTo>
                  <a:cubicBezTo>
                    <a:pt x="493670" y="362622"/>
                    <a:pt x="499308" y="338542"/>
                    <a:pt x="489707" y="332446"/>
                  </a:cubicBezTo>
                  <a:cubicBezTo>
                    <a:pt x="489707" y="332446"/>
                    <a:pt x="488793" y="331684"/>
                    <a:pt x="489707" y="331532"/>
                  </a:cubicBezTo>
                  <a:cubicBezTo>
                    <a:pt x="499308" y="329399"/>
                    <a:pt x="500679" y="322540"/>
                    <a:pt x="497480" y="314768"/>
                  </a:cubicBezTo>
                  <a:cubicBezTo>
                    <a:pt x="497480" y="313853"/>
                    <a:pt x="496565" y="314006"/>
                    <a:pt x="496413" y="314768"/>
                  </a:cubicBezTo>
                  <a:cubicBezTo>
                    <a:pt x="495651" y="330008"/>
                    <a:pt x="470657" y="322998"/>
                    <a:pt x="469895" y="301052"/>
                  </a:cubicBezTo>
                  <a:cubicBezTo>
                    <a:pt x="483307" y="304557"/>
                    <a:pt x="506319" y="299833"/>
                    <a:pt x="506319" y="278039"/>
                  </a:cubicBezTo>
                  <a:cubicBezTo>
                    <a:pt x="506319" y="256246"/>
                    <a:pt x="478886" y="245121"/>
                    <a:pt x="478886" y="229424"/>
                  </a:cubicBezTo>
                  <a:cubicBezTo>
                    <a:pt x="477942" y="223008"/>
                    <a:pt x="482361" y="217049"/>
                    <a:pt x="488778" y="216089"/>
                  </a:cubicBezTo>
                  <a:cubicBezTo>
                    <a:pt x="489692" y="215952"/>
                    <a:pt x="490621" y="215937"/>
                    <a:pt x="491536" y="216013"/>
                  </a:cubicBezTo>
                  <a:cubicBezTo>
                    <a:pt x="501106" y="216150"/>
                    <a:pt x="509366" y="222733"/>
                    <a:pt x="511653" y="232015"/>
                  </a:cubicBezTo>
                  <a:lnTo>
                    <a:pt x="512567" y="232015"/>
                  </a:lnTo>
                  <a:cubicBezTo>
                    <a:pt x="514289" y="227092"/>
                    <a:pt x="513360" y="221621"/>
                    <a:pt x="510129" y="217537"/>
                  </a:cubicBezTo>
                  <a:cubicBezTo>
                    <a:pt x="510129" y="217537"/>
                    <a:pt x="510129" y="216318"/>
                    <a:pt x="510129" y="216775"/>
                  </a:cubicBezTo>
                  <a:cubicBezTo>
                    <a:pt x="512902" y="218040"/>
                    <a:pt x="515919" y="218664"/>
                    <a:pt x="518968" y="218603"/>
                  </a:cubicBezTo>
                  <a:cubicBezTo>
                    <a:pt x="525308" y="219472"/>
                    <a:pt x="531145" y="215038"/>
                    <a:pt x="532013" y="208698"/>
                  </a:cubicBezTo>
                  <a:cubicBezTo>
                    <a:pt x="532135" y="207844"/>
                    <a:pt x="532150" y="206975"/>
                    <a:pt x="532074" y="206107"/>
                  </a:cubicBezTo>
                  <a:cubicBezTo>
                    <a:pt x="532074" y="201230"/>
                    <a:pt x="530398" y="198792"/>
                    <a:pt x="531008" y="197268"/>
                  </a:cubicBezTo>
                  <a:cubicBezTo>
                    <a:pt x="531617" y="195743"/>
                    <a:pt x="531008" y="195896"/>
                    <a:pt x="529941" y="197268"/>
                  </a:cubicBezTo>
                  <a:cubicBezTo>
                    <a:pt x="528356" y="202632"/>
                    <a:pt x="523341" y="206274"/>
                    <a:pt x="517749" y="206107"/>
                  </a:cubicBezTo>
                  <a:lnTo>
                    <a:pt x="496718" y="206107"/>
                  </a:lnTo>
                  <a:cubicBezTo>
                    <a:pt x="483992" y="204750"/>
                    <a:pt x="472593" y="213971"/>
                    <a:pt x="471237" y="226696"/>
                  </a:cubicBezTo>
                  <a:cubicBezTo>
                    <a:pt x="471130" y="227702"/>
                    <a:pt x="471084" y="228723"/>
                    <a:pt x="471114" y="229729"/>
                  </a:cubicBezTo>
                  <a:cubicBezTo>
                    <a:pt x="471114" y="248931"/>
                    <a:pt x="495651" y="257313"/>
                    <a:pt x="495651" y="276820"/>
                  </a:cubicBezTo>
                  <a:cubicBezTo>
                    <a:pt x="495651" y="281392"/>
                    <a:pt x="493212" y="289012"/>
                    <a:pt x="480411" y="289012"/>
                  </a:cubicBezTo>
                  <a:cubicBezTo>
                    <a:pt x="475641" y="288982"/>
                    <a:pt x="470931" y="287991"/>
                    <a:pt x="466542" y="286117"/>
                  </a:cubicBezTo>
                  <a:cubicBezTo>
                    <a:pt x="466542" y="286117"/>
                    <a:pt x="460903" y="251979"/>
                    <a:pt x="444292" y="240397"/>
                  </a:cubicBezTo>
                  <a:cubicBezTo>
                    <a:pt x="431932" y="245792"/>
                    <a:pt x="417820" y="245456"/>
                    <a:pt x="405735" y="239482"/>
                  </a:cubicBezTo>
                  <a:cubicBezTo>
                    <a:pt x="390495" y="231558"/>
                    <a:pt x="384094" y="226223"/>
                    <a:pt x="371292" y="235063"/>
                  </a:cubicBezTo>
                  <a:cubicBezTo>
                    <a:pt x="358491" y="243902"/>
                    <a:pt x="347213" y="253503"/>
                    <a:pt x="345841" y="253351"/>
                  </a:cubicBezTo>
                  <a:lnTo>
                    <a:pt x="342641" y="253351"/>
                  </a:lnTo>
                  <a:lnTo>
                    <a:pt x="342641" y="176389"/>
                  </a:lnTo>
                  <a:cubicBezTo>
                    <a:pt x="345643" y="175932"/>
                    <a:pt x="348432" y="177989"/>
                    <a:pt x="348890" y="180991"/>
                  </a:cubicBezTo>
                  <a:cubicBezTo>
                    <a:pt x="348966" y="181540"/>
                    <a:pt x="348966" y="182088"/>
                    <a:pt x="348890" y="182637"/>
                  </a:cubicBezTo>
                  <a:cubicBezTo>
                    <a:pt x="348890" y="184313"/>
                    <a:pt x="346451" y="185838"/>
                    <a:pt x="350566" y="191933"/>
                  </a:cubicBezTo>
                  <a:cubicBezTo>
                    <a:pt x="350566" y="191933"/>
                    <a:pt x="350566" y="191933"/>
                    <a:pt x="351480" y="191933"/>
                  </a:cubicBezTo>
                  <a:cubicBezTo>
                    <a:pt x="352395" y="191933"/>
                    <a:pt x="352395" y="187819"/>
                    <a:pt x="354528" y="187819"/>
                  </a:cubicBezTo>
                  <a:cubicBezTo>
                    <a:pt x="361691" y="191720"/>
                    <a:pt x="368107" y="196871"/>
                    <a:pt x="373426" y="203059"/>
                  </a:cubicBezTo>
                  <a:cubicBezTo>
                    <a:pt x="376047" y="195423"/>
                    <a:pt x="381503" y="189099"/>
                    <a:pt x="388666" y="185380"/>
                  </a:cubicBezTo>
                  <a:cubicBezTo>
                    <a:pt x="382569" y="184466"/>
                    <a:pt x="356205" y="178065"/>
                    <a:pt x="356205" y="166483"/>
                  </a:cubicBezTo>
                  <a:cubicBezTo>
                    <a:pt x="356205" y="162673"/>
                    <a:pt x="351938" y="161759"/>
                    <a:pt x="349042" y="162063"/>
                  </a:cubicBezTo>
                  <a:cubicBezTo>
                    <a:pt x="349042" y="162063"/>
                    <a:pt x="344622" y="151395"/>
                    <a:pt x="336545" y="156729"/>
                  </a:cubicBezTo>
                  <a:lnTo>
                    <a:pt x="336545" y="157796"/>
                  </a:lnTo>
                  <a:cubicBezTo>
                    <a:pt x="340050" y="158558"/>
                    <a:pt x="341574" y="162368"/>
                    <a:pt x="341726" y="166330"/>
                  </a:cubicBezTo>
                  <a:cubicBezTo>
                    <a:pt x="316032" y="158771"/>
                    <a:pt x="289408" y="154870"/>
                    <a:pt x="262631" y="154748"/>
                  </a:cubicBezTo>
                  <a:cubicBezTo>
                    <a:pt x="245852" y="154794"/>
                    <a:pt x="229133" y="156379"/>
                    <a:pt x="212644" y="159472"/>
                  </a:cubicBezTo>
                  <a:lnTo>
                    <a:pt x="212644" y="185990"/>
                  </a:lnTo>
                  <a:lnTo>
                    <a:pt x="201823" y="185990"/>
                  </a:lnTo>
                  <a:lnTo>
                    <a:pt x="201823" y="161606"/>
                  </a:lnTo>
                  <a:lnTo>
                    <a:pt x="201823" y="161606"/>
                  </a:lnTo>
                  <a:moveTo>
                    <a:pt x="136291" y="432573"/>
                  </a:moveTo>
                  <a:cubicBezTo>
                    <a:pt x="133305" y="431781"/>
                    <a:pt x="131308" y="428946"/>
                    <a:pt x="131567" y="425868"/>
                  </a:cubicBezTo>
                  <a:lnTo>
                    <a:pt x="131567" y="409256"/>
                  </a:lnTo>
                  <a:cubicBezTo>
                    <a:pt x="117561" y="404410"/>
                    <a:pt x="102794" y="402200"/>
                    <a:pt x="87981" y="402703"/>
                  </a:cubicBezTo>
                  <a:cubicBezTo>
                    <a:pt x="66492" y="402703"/>
                    <a:pt x="59786" y="407579"/>
                    <a:pt x="59482" y="409256"/>
                  </a:cubicBezTo>
                  <a:lnTo>
                    <a:pt x="53691" y="440803"/>
                  </a:lnTo>
                  <a:cubicBezTo>
                    <a:pt x="53691" y="440803"/>
                    <a:pt x="62378" y="432878"/>
                    <a:pt x="93620" y="434859"/>
                  </a:cubicBezTo>
                  <a:cubicBezTo>
                    <a:pt x="131109" y="437298"/>
                    <a:pt x="169820" y="459396"/>
                    <a:pt x="169820" y="435773"/>
                  </a:cubicBezTo>
                  <a:lnTo>
                    <a:pt x="169820" y="421905"/>
                  </a:lnTo>
                  <a:cubicBezTo>
                    <a:pt x="141016" y="421143"/>
                    <a:pt x="136291" y="430439"/>
                    <a:pt x="136291" y="432573"/>
                  </a:cubicBezTo>
                  <a:close/>
                  <a:moveTo>
                    <a:pt x="367178" y="421905"/>
                  </a:moveTo>
                  <a:lnTo>
                    <a:pt x="367178" y="435773"/>
                  </a:lnTo>
                  <a:cubicBezTo>
                    <a:pt x="367178" y="459396"/>
                    <a:pt x="406040" y="437298"/>
                    <a:pt x="443378" y="434859"/>
                  </a:cubicBezTo>
                  <a:cubicBezTo>
                    <a:pt x="473858" y="432878"/>
                    <a:pt x="483307" y="440803"/>
                    <a:pt x="483307" y="440803"/>
                  </a:cubicBezTo>
                  <a:lnTo>
                    <a:pt x="477515" y="409256"/>
                  </a:lnTo>
                  <a:cubicBezTo>
                    <a:pt x="477515" y="407579"/>
                    <a:pt x="470505" y="402703"/>
                    <a:pt x="449017" y="402703"/>
                  </a:cubicBezTo>
                  <a:cubicBezTo>
                    <a:pt x="434203" y="402169"/>
                    <a:pt x="419435" y="404394"/>
                    <a:pt x="405429" y="409256"/>
                  </a:cubicBezTo>
                  <a:lnTo>
                    <a:pt x="405429" y="425868"/>
                  </a:lnTo>
                  <a:cubicBezTo>
                    <a:pt x="405689" y="428946"/>
                    <a:pt x="403693" y="431781"/>
                    <a:pt x="400705" y="432573"/>
                  </a:cubicBezTo>
                  <a:cubicBezTo>
                    <a:pt x="401315" y="430439"/>
                    <a:pt x="397048" y="421143"/>
                    <a:pt x="367635" y="421143"/>
                  </a:cubicBezTo>
                  <a:close/>
                  <a:moveTo>
                    <a:pt x="268575" y="407579"/>
                  </a:moveTo>
                  <a:cubicBezTo>
                    <a:pt x="329535" y="407579"/>
                    <a:pt x="390495" y="410780"/>
                    <a:pt x="398420" y="419924"/>
                  </a:cubicBezTo>
                  <a:cubicBezTo>
                    <a:pt x="398420" y="419924"/>
                    <a:pt x="399334" y="419924"/>
                    <a:pt x="399334" y="419924"/>
                  </a:cubicBezTo>
                  <a:lnTo>
                    <a:pt x="399334" y="386853"/>
                  </a:lnTo>
                  <a:cubicBezTo>
                    <a:pt x="399334" y="377404"/>
                    <a:pt x="335935" y="371613"/>
                    <a:pt x="268575" y="371613"/>
                  </a:cubicBezTo>
                  <a:cubicBezTo>
                    <a:pt x="201214" y="371613"/>
                    <a:pt x="137815" y="376947"/>
                    <a:pt x="137815" y="386853"/>
                  </a:cubicBezTo>
                  <a:lnTo>
                    <a:pt x="137815" y="418857"/>
                  </a:lnTo>
                  <a:cubicBezTo>
                    <a:pt x="137815" y="418857"/>
                    <a:pt x="137815" y="420076"/>
                    <a:pt x="138729" y="418857"/>
                  </a:cubicBezTo>
                  <a:cubicBezTo>
                    <a:pt x="147264" y="410018"/>
                    <a:pt x="208529" y="406818"/>
                    <a:pt x="269032" y="406818"/>
                  </a:cubicBezTo>
                  <a:close/>
                  <a:moveTo>
                    <a:pt x="214625" y="256551"/>
                  </a:moveTo>
                  <a:lnTo>
                    <a:pt x="208529" y="255027"/>
                  </a:lnTo>
                  <a:lnTo>
                    <a:pt x="208529" y="255789"/>
                  </a:lnTo>
                  <a:lnTo>
                    <a:pt x="201367" y="252589"/>
                  </a:lnTo>
                  <a:lnTo>
                    <a:pt x="207767" y="252589"/>
                  </a:lnTo>
                  <a:cubicBezTo>
                    <a:pt x="207767" y="252589"/>
                    <a:pt x="207767" y="252589"/>
                    <a:pt x="207767" y="252589"/>
                  </a:cubicBezTo>
                  <a:lnTo>
                    <a:pt x="202281" y="247255"/>
                  </a:lnTo>
                  <a:lnTo>
                    <a:pt x="209291" y="249846"/>
                  </a:lnTo>
                  <a:cubicBezTo>
                    <a:pt x="209291" y="249846"/>
                    <a:pt x="210053" y="249846"/>
                    <a:pt x="209291" y="249846"/>
                  </a:cubicBezTo>
                  <a:lnTo>
                    <a:pt x="204719" y="242988"/>
                  </a:lnTo>
                  <a:lnTo>
                    <a:pt x="211577" y="247559"/>
                  </a:lnTo>
                  <a:cubicBezTo>
                    <a:pt x="211577" y="247559"/>
                    <a:pt x="211577" y="247559"/>
                    <a:pt x="211577" y="247559"/>
                  </a:cubicBezTo>
                  <a:lnTo>
                    <a:pt x="208376" y="239482"/>
                  </a:lnTo>
                  <a:lnTo>
                    <a:pt x="214625" y="245426"/>
                  </a:lnTo>
                  <a:cubicBezTo>
                    <a:pt x="214625" y="245426"/>
                    <a:pt x="214625" y="245426"/>
                    <a:pt x="214625" y="245426"/>
                  </a:cubicBezTo>
                  <a:lnTo>
                    <a:pt x="212949" y="237349"/>
                  </a:lnTo>
                  <a:lnTo>
                    <a:pt x="217521" y="244054"/>
                  </a:lnTo>
                  <a:cubicBezTo>
                    <a:pt x="217521" y="244054"/>
                    <a:pt x="217521" y="244054"/>
                    <a:pt x="217521" y="244054"/>
                  </a:cubicBezTo>
                  <a:cubicBezTo>
                    <a:pt x="217521" y="244054"/>
                    <a:pt x="217521" y="236739"/>
                    <a:pt x="217521" y="236739"/>
                  </a:cubicBezTo>
                  <a:cubicBezTo>
                    <a:pt x="217521" y="236739"/>
                    <a:pt x="219502" y="241159"/>
                    <a:pt x="220417" y="243445"/>
                  </a:cubicBezTo>
                  <a:cubicBezTo>
                    <a:pt x="221331" y="245731"/>
                    <a:pt x="220417" y="243445"/>
                    <a:pt x="221178" y="243445"/>
                  </a:cubicBezTo>
                  <a:lnTo>
                    <a:pt x="223616" y="237806"/>
                  </a:lnTo>
                  <a:lnTo>
                    <a:pt x="223616" y="245426"/>
                  </a:lnTo>
                  <a:lnTo>
                    <a:pt x="222549" y="245426"/>
                  </a:lnTo>
                  <a:lnTo>
                    <a:pt x="221331" y="254722"/>
                  </a:lnTo>
                  <a:cubicBezTo>
                    <a:pt x="230322" y="252589"/>
                    <a:pt x="241752" y="236892"/>
                    <a:pt x="250439" y="236892"/>
                  </a:cubicBezTo>
                  <a:cubicBezTo>
                    <a:pt x="259126" y="236892"/>
                    <a:pt x="264612" y="249083"/>
                    <a:pt x="283815" y="242988"/>
                  </a:cubicBezTo>
                  <a:cubicBezTo>
                    <a:pt x="288143" y="249632"/>
                    <a:pt x="290993" y="257100"/>
                    <a:pt x="292196" y="264933"/>
                  </a:cubicBezTo>
                  <a:cubicBezTo>
                    <a:pt x="299664" y="271943"/>
                    <a:pt x="310028" y="269658"/>
                    <a:pt x="310028" y="262190"/>
                  </a:cubicBezTo>
                  <a:cubicBezTo>
                    <a:pt x="310028" y="252284"/>
                    <a:pt x="299207" y="250455"/>
                    <a:pt x="299207" y="240092"/>
                  </a:cubicBezTo>
                  <a:cubicBezTo>
                    <a:pt x="299116" y="233859"/>
                    <a:pt x="304084" y="228738"/>
                    <a:pt x="310302" y="228632"/>
                  </a:cubicBezTo>
                  <a:cubicBezTo>
                    <a:pt x="310622" y="228632"/>
                    <a:pt x="310926" y="228647"/>
                    <a:pt x="311246" y="228662"/>
                  </a:cubicBezTo>
                  <a:cubicBezTo>
                    <a:pt x="315971" y="228662"/>
                    <a:pt x="322829" y="230796"/>
                    <a:pt x="326486" y="230796"/>
                  </a:cubicBezTo>
                  <a:cubicBezTo>
                    <a:pt x="329458" y="230872"/>
                    <a:pt x="332079" y="228830"/>
                    <a:pt x="332735" y="225919"/>
                  </a:cubicBezTo>
                  <a:cubicBezTo>
                    <a:pt x="332735" y="224852"/>
                    <a:pt x="334411" y="225919"/>
                    <a:pt x="334259" y="225919"/>
                  </a:cubicBezTo>
                  <a:cubicBezTo>
                    <a:pt x="334106" y="225919"/>
                    <a:pt x="334259" y="228205"/>
                    <a:pt x="334259" y="230491"/>
                  </a:cubicBezTo>
                  <a:cubicBezTo>
                    <a:pt x="334259" y="237044"/>
                    <a:pt x="324810" y="237806"/>
                    <a:pt x="323591" y="237044"/>
                  </a:cubicBezTo>
                  <a:cubicBezTo>
                    <a:pt x="322372" y="236282"/>
                    <a:pt x="323591" y="237044"/>
                    <a:pt x="323591" y="237044"/>
                  </a:cubicBezTo>
                  <a:cubicBezTo>
                    <a:pt x="323591" y="237044"/>
                    <a:pt x="324658" y="242073"/>
                    <a:pt x="323591" y="244664"/>
                  </a:cubicBezTo>
                  <a:cubicBezTo>
                    <a:pt x="323591" y="244664"/>
                    <a:pt x="323591" y="244664"/>
                    <a:pt x="323591" y="244664"/>
                  </a:cubicBezTo>
                  <a:cubicBezTo>
                    <a:pt x="321945" y="239391"/>
                    <a:pt x="317572" y="235428"/>
                    <a:pt x="312161" y="234301"/>
                  </a:cubicBezTo>
                  <a:cubicBezTo>
                    <a:pt x="309479" y="234042"/>
                    <a:pt x="307101" y="236007"/>
                    <a:pt x="306842" y="238690"/>
                  </a:cubicBezTo>
                  <a:cubicBezTo>
                    <a:pt x="306827" y="238903"/>
                    <a:pt x="306827" y="239117"/>
                    <a:pt x="306827" y="239330"/>
                  </a:cubicBezTo>
                  <a:cubicBezTo>
                    <a:pt x="306827" y="245273"/>
                    <a:pt x="318562" y="250608"/>
                    <a:pt x="318562" y="262952"/>
                  </a:cubicBezTo>
                  <a:cubicBezTo>
                    <a:pt x="318562" y="275296"/>
                    <a:pt x="306065" y="278192"/>
                    <a:pt x="293416" y="275449"/>
                  </a:cubicBezTo>
                  <a:cubicBezTo>
                    <a:pt x="293416" y="287489"/>
                    <a:pt x="311704" y="294651"/>
                    <a:pt x="312161" y="286117"/>
                  </a:cubicBezTo>
                  <a:cubicBezTo>
                    <a:pt x="312161" y="286117"/>
                    <a:pt x="312161" y="286117"/>
                    <a:pt x="312161" y="286117"/>
                  </a:cubicBezTo>
                  <a:cubicBezTo>
                    <a:pt x="314752" y="289774"/>
                    <a:pt x="313533" y="292518"/>
                    <a:pt x="310179" y="293889"/>
                  </a:cubicBezTo>
                  <a:cubicBezTo>
                    <a:pt x="313228" y="295413"/>
                    <a:pt x="313838" y="301662"/>
                    <a:pt x="314752" y="305472"/>
                  </a:cubicBezTo>
                  <a:cubicBezTo>
                    <a:pt x="315667" y="309282"/>
                    <a:pt x="322067" y="307910"/>
                    <a:pt x="322372" y="307758"/>
                  </a:cubicBezTo>
                  <a:cubicBezTo>
                    <a:pt x="322676" y="307605"/>
                    <a:pt x="322372" y="307758"/>
                    <a:pt x="322372" y="307758"/>
                  </a:cubicBezTo>
                  <a:cubicBezTo>
                    <a:pt x="321091" y="311034"/>
                    <a:pt x="317419" y="312665"/>
                    <a:pt x="314142" y="311415"/>
                  </a:cubicBezTo>
                  <a:cubicBezTo>
                    <a:pt x="310942" y="313549"/>
                    <a:pt x="314142" y="315530"/>
                    <a:pt x="317648" y="316444"/>
                  </a:cubicBezTo>
                  <a:cubicBezTo>
                    <a:pt x="317648" y="316444"/>
                    <a:pt x="317648" y="316444"/>
                    <a:pt x="317648" y="316444"/>
                  </a:cubicBezTo>
                  <a:cubicBezTo>
                    <a:pt x="317648" y="316444"/>
                    <a:pt x="310942" y="318578"/>
                    <a:pt x="308808" y="314768"/>
                  </a:cubicBezTo>
                  <a:cubicBezTo>
                    <a:pt x="307848" y="317328"/>
                    <a:pt x="305273" y="318898"/>
                    <a:pt x="302559" y="318578"/>
                  </a:cubicBezTo>
                  <a:cubicBezTo>
                    <a:pt x="300121" y="318578"/>
                    <a:pt x="298598" y="321016"/>
                    <a:pt x="299207" y="324064"/>
                  </a:cubicBezTo>
                  <a:cubicBezTo>
                    <a:pt x="299207" y="324064"/>
                    <a:pt x="299207" y="324064"/>
                    <a:pt x="299207" y="324064"/>
                  </a:cubicBezTo>
                  <a:cubicBezTo>
                    <a:pt x="296723" y="323028"/>
                    <a:pt x="295564" y="320163"/>
                    <a:pt x="296601" y="317679"/>
                  </a:cubicBezTo>
                  <a:cubicBezTo>
                    <a:pt x="297089" y="316505"/>
                    <a:pt x="298033" y="315560"/>
                    <a:pt x="299207" y="315073"/>
                  </a:cubicBezTo>
                  <a:cubicBezTo>
                    <a:pt x="297302" y="314006"/>
                    <a:pt x="294879" y="314692"/>
                    <a:pt x="293812" y="316612"/>
                  </a:cubicBezTo>
                  <a:cubicBezTo>
                    <a:pt x="293629" y="316947"/>
                    <a:pt x="293492" y="317298"/>
                    <a:pt x="293416" y="317663"/>
                  </a:cubicBezTo>
                  <a:cubicBezTo>
                    <a:pt x="293416" y="317663"/>
                    <a:pt x="293416" y="317663"/>
                    <a:pt x="293416" y="317663"/>
                  </a:cubicBezTo>
                  <a:cubicBezTo>
                    <a:pt x="290978" y="311263"/>
                    <a:pt x="296159" y="309434"/>
                    <a:pt x="299969" y="310958"/>
                  </a:cubicBezTo>
                  <a:cubicBezTo>
                    <a:pt x="298674" y="308306"/>
                    <a:pt x="295626" y="307011"/>
                    <a:pt x="292807" y="307910"/>
                  </a:cubicBezTo>
                  <a:cubicBezTo>
                    <a:pt x="292807" y="307910"/>
                    <a:pt x="292807" y="307910"/>
                    <a:pt x="292807" y="307910"/>
                  </a:cubicBezTo>
                  <a:cubicBezTo>
                    <a:pt x="293659" y="305441"/>
                    <a:pt x="296357" y="304130"/>
                    <a:pt x="298811" y="304984"/>
                  </a:cubicBezTo>
                  <a:cubicBezTo>
                    <a:pt x="299481" y="305213"/>
                    <a:pt x="300076" y="305593"/>
                    <a:pt x="300579" y="306081"/>
                  </a:cubicBezTo>
                  <a:cubicBezTo>
                    <a:pt x="303017" y="307453"/>
                    <a:pt x="306980" y="305319"/>
                    <a:pt x="307284" y="305167"/>
                  </a:cubicBezTo>
                  <a:cubicBezTo>
                    <a:pt x="299207" y="289165"/>
                    <a:pt x="283662" y="302576"/>
                    <a:pt x="280157" y="289927"/>
                  </a:cubicBezTo>
                  <a:cubicBezTo>
                    <a:pt x="280157" y="289927"/>
                    <a:pt x="280157" y="289927"/>
                    <a:pt x="280157" y="289927"/>
                  </a:cubicBezTo>
                  <a:cubicBezTo>
                    <a:pt x="280157" y="289927"/>
                    <a:pt x="272537" y="292822"/>
                    <a:pt x="271318" y="287489"/>
                  </a:cubicBezTo>
                  <a:cubicBezTo>
                    <a:pt x="271318" y="287489"/>
                    <a:pt x="271318" y="287489"/>
                    <a:pt x="271318" y="287489"/>
                  </a:cubicBezTo>
                  <a:cubicBezTo>
                    <a:pt x="271318" y="287489"/>
                    <a:pt x="274366" y="289317"/>
                    <a:pt x="277261" y="285355"/>
                  </a:cubicBezTo>
                  <a:cubicBezTo>
                    <a:pt x="278832" y="282733"/>
                    <a:pt x="279563" y="279716"/>
                    <a:pt x="279395" y="276668"/>
                  </a:cubicBezTo>
                  <a:cubicBezTo>
                    <a:pt x="278648" y="263059"/>
                    <a:pt x="268118" y="252010"/>
                    <a:pt x="254554" y="250608"/>
                  </a:cubicBezTo>
                  <a:cubicBezTo>
                    <a:pt x="244617" y="250790"/>
                    <a:pt x="234986" y="254037"/>
                    <a:pt x="226970" y="259904"/>
                  </a:cubicBezTo>
                  <a:lnTo>
                    <a:pt x="234132" y="261428"/>
                  </a:lnTo>
                  <a:cubicBezTo>
                    <a:pt x="233614" y="267463"/>
                    <a:pt x="228311" y="271943"/>
                    <a:pt x="222276" y="271425"/>
                  </a:cubicBezTo>
                  <a:cubicBezTo>
                    <a:pt x="221544" y="271364"/>
                    <a:pt x="220813" y="271243"/>
                    <a:pt x="220111" y="271029"/>
                  </a:cubicBezTo>
                  <a:lnTo>
                    <a:pt x="221178" y="262799"/>
                  </a:lnTo>
                  <a:cubicBezTo>
                    <a:pt x="219106" y="263455"/>
                    <a:pt x="217261" y="264659"/>
                    <a:pt x="215844" y="266305"/>
                  </a:cubicBezTo>
                  <a:cubicBezTo>
                    <a:pt x="215844" y="266305"/>
                    <a:pt x="215844" y="266305"/>
                    <a:pt x="215844" y="266305"/>
                  </a:cubicBezTo>
                  <a:cubicBezTo>
                    <a:pt x="214976" y="263211"/>
                    <a:pt x="216545" y="259950"/>
                    <a:pt x="219502" y="258685"/>
                  </a:cubicBezTo>
                  <a:cubicBezTo>
                    <a:pt x="219502" y="258685"/>
                    <a:pt x="219502" y="258685"/>
                    <a:pt x="219502" y="258685"/>
                  </a:cubicBezTo>
                  <a:cubicBezTo>
                    <a:pt x="217094" y="258746"/>
                    <a:pt x="214869" y="260011"/>
                    <a:pt x="213558" y="262038"/>
                  </a:cubicBezTo>
                  <a:lnTo>
                    <a:pt x="213558" y="262038"/>
                  </a:lnTo>
                  <a:cubicBezTo>
                    <a:pt x="212553" y="259858"/>
                    <a:pt x="213193" y="257268"/>
                    <a:pt x="215082" y="255789"/>
                  </a:cubicBezTo>
                  <a:close/>
                  <a:moveTo>
                    <a:pt x="235809" y="312177"/>
                  </a:moveTo>
                  <a:cubicBezTo>
                    <a:pt x="233065" y="315530"/>
                    <a:pt x="230627" y="312177"/>
                    <a:pt x="227122" y="312177"/>
                  </a:cubicBezTo>
                  <a:cubicBezTo>
                    <a:pt x="225019" y="312086"/>
                    <a:pt x="223251" y="313732"/>
                    <a:pt x="223160" y="315835"/>
                  </a:cubicBezTo>
                  <a:cubicBezTo>
                    <a:pt x="223160" y="315926"/>
                    <a:pt x="223160" y="316033"/>
                    <a:pt x="223160" y="316139"/>
                  </a:cubicBezTo>
                  <a:cubicBezTo>
                    <a:pt x="223160" y="316139"/>
                    <a:pt x="223160" y="316139"/>
                    <a:pt x="223160" y="316139"/>
                  </a:cubicBezTo>
                  <a:cubicBezTo>
                    <a:pt x="221209" y="314280"/>
                    <a:pt x="221133" y="311187"/>
                    <a:pt x="222992" y="309251"/>
                  </a:cubicBezTo>
                  <a:cubicBezTo>
                    <a:pt x="223800" y="308398"/>
                    <a:pt x="224897" y="307864"/>
                    <a:pt x="226055" y="307758"/>
                  </a:cubicBezTo>
                  <a:cubicBezTo>
                    <a:pt x="224425" y="305944"/>
                    <a:pt x="221620" y="305807"/>
                    <a:pt x="219806" y="307453"/>
                  </a:cubicBezTo>
                  <a:cubicBezTo>
                    <a:pt x="219700" y="307544"/>
                    <a:pt x="219593" y="307651"/>
                    <a:pt x="219502" y="307758"/>
                  </a:cubicBezTo>
                  <a:cubicBezTo>
                    <a:pt x="219502" y="307758"/>
                    <a:pt x="219502" y="307758"/>
                    <a:pt x="219502" y="307758"/>
                  </a:cubicBezTo>
                  <a:cubicBezTo>
                    <a:pt x="219502" y="301204"/>
                    <a:pt x="224531" y="300747"/>
                    <a:pt x="227884" y="303643"/>
                  </a:cubicBezTo>
                  <a:cubicBezTo>
                    <a:pt x="227884" y="301204"/>
                    <a:pt x="226817" y="299528"/>
                    <a:pt x="224074" y="299376"/>
                  </a:cubicBezTo>
                  <a:cubicBezTo>
                    <a:pt x="224074" y="299376"/>
                    <a:pt x="224074" y="299376"/>
                    <a:pt x="224074" y="299376"/>
                  </a:cubicBezTo>
                  <a:cubicBezTo>
                    <a:pt x="224881" y="298324"/>
                    <a:pt x="226101" y="297654"/>
                    <a:pt x="227426" y="297547"/>
                  </a:cubicBezTo>
                  <a:cubicBezTo>
                    <a:pt x="231084" y="297547"/>
                    <a:pt x="231541" y="302119"/>
                    <a:pt x="233828" y="302119"/>
                  </a:cubicBezTo>
                  <a:cubicBezTo>
                    <a:pt x="236113" y="302119"/>
                    <a:pt x="242362" y="297394"/>
                    <a:pt x="242819" y="296937"/>
                  </a:cubicBezTo>
                  <a:cubicBezTo>
                    <a:pt x="240914" y="292091"/>
                    <a:pt x="239985" y="286909"/>
                    <a:pt x="240076" y="281697"/>
                  </a:cubicBezTo>
                  <a:cubicBezTo>
                    <a:pt x="240076" y="281697"/>
                    <a:pt x="240076" y="281697"/>
                    <a:pt x="240076" y="281697"/>
                  </a:cubicBezTo>
                  <a:cubicBezTo>
                    <a:pt x="240076" y="281697"/>
                    <a:pt x="233979" y="282612"/>
                    <a:pt x="233979" y="277278"/>
                  </a:cubicBezTo>
                  <a:cubicBezTo>
                    <a:pt x="233979" y="277278"/>
                    <a:pt x="233979" y="277278"/>
                    <a:pt x="233979" y="277278"/>
                  </a:cubicBezTo>
                  <a:cubicBezTo>
                    <a:pt x="235809" y="280021"/>
                    <a:pt x="238856" y="277278"/>
                    <a:pt x="240381" y="275296"/>
                  </a:cubicBezTo>
                  <a:cubicBezTo>
                    <a:pt x="241905" y="273315"/>
                    <a:pt x="251049" y="260056"/>
                    <a:pt x="262783" y="260056"/>
                  </a:cubicBezTo>
                  <a:cubicBezTo>
                    <a:pt x="265938" y="260300"/>
                    <a:pt x="268956" y="261474"/>
                    <a:pt x="271470" y="263409"/>
                  </a:cubicBezTo>
                  <a:cubicBezTo>
                    <a:pt x="267355" y="268286"/>
                    <a:pt x="271470" y="273163"/>
                    <a:pt x="274518" y="272553"/>
                  </a:cubicBezTo>
                  <a:cubicBezTo>
                    <a:pt x="274518" y="272553"/>
                    <a:pt x="274518" y="272553"/>
                    <a:pt x="274518" y="272553"/>
                  </a:cubicBezTo>
                  <a:cubicBezTo>
                    <a:pt x="259278" y="278497"/>
                    <a:pt x="251963" y="280783"/>
                    <a:pt x="251963" y="293889"/>
                  </a:cubicBezTo>
                  <a:cubicBezTo>
                    <a:pt x="251963" y="300747"/>
                    <a:pt x="254249" y="304557"/>
                    <a:pt x="258211" y="303643"/>
                  </a:cubicBezTo>
                  <a:cubicBezTo>
                    <a:pt x="258211" y="303643"/>
                    <a:pt x="258211" y="303643"/>
                    <a:pt x="258211" y="303643"/>
                  </a:cubicBezTo>
                  <a:cubicBezTo>
                    <a:pt x="257084" y="305014"/>
                    <a:pt x="255423" y="305853"/>
                    <a:pt x="253640" y="305929"/>
                  </a:cubicBezTo>
                  <a:cubicBezTo>
                    <a:pt x="250439" y="305929"/>
                    <a:pt x="249830" y="304100"/>
                    <a:pt x="248001" y="304100"/>
                  </a:cubicBezTo>
                  <a:cubicBezTo>
                    <a:pt x="246172" y="304100"/>
                    <a:pt x="240381" y="307605"/>
                    <a:pt x="240381" y="310501"/>
                  </a:cubicBezTo>
                  <a:cubicBezTo>
                    <a:pt x="240381" y="313396"/>
                    <a:pt x="240381" y="312939"/>
                    <a:pt x="243124" y="314311"/>
                  </a:cubicBezTo>
                  <a:cubicBezTo>
                    <a:pt x="245867" y="315682"/>
                    <a:pt x="243124" y="314311"/>
                    <a:pt x="243124" y="314311"/>
                  </a:cubicBezTo>
                  <a:cubicBezTo>
                    <a:pt x="243124" y="314311"/>
                    <a:pt x="237333" y="315835"/>
                    <a:pt x="236266" y="311415"/>
                  </a:cubicBezTo>
                  <a:close/>
                  <a:moveTo>
                    <a:pt x="276956" y="184923"/>
                  </a:moveTo>
                  <a:cubicBezTo>
                    <a:pt x="272079" y="184923"/>
                    <a:pt x="269032" y="185685"/>
                    <a:pt x="269184" y="187209"/>
                  </a:cubicBezTo>
                  <a:cubicBezTo>
                    <a:pt x="269336" y="188733"/>
                    <a:pt x="275128" y="188733"/>
                    <a:pt x="277414" y="184161"/>
                  </a:cubicBezTo>
                  <a:close/>
                  <a:moveTo>
                    <a:pt x="258973" y="196963"/>
                  </a:moveTo>
                  <a:cubicBezTo>
                    <a:pt x="261488" y="196445"/>
                    <a:pt x="264079" y="196445"/>
                    <a:pt x="266593" y="196963"/>
                  </a:cubicBezTo>
                  <a:lnTo>
                    <a:pt x="266593" y="198029"/>
                  </a:lnTo>
                  <a:cubicBezTo>
                    <a:pt x="259278" y="198944"/>
                    <a:pt x="258973" y="202297"/>
                    <a:pt x="254401" y="202297"/>
                  </a:cubicBezTo>
                  <a:cubicBezTo>
                    <a:pt x="251293" y="202160"/>
                    <a:pt x="248885" y="199523"/>
                    <a:pt x="249021" y="196414"/>
                  </a:cubicBezTo>
                  <a:cubicBezTo>
                    <a:pt x="249037" y="195820"/>
                    <a:pt x="249159" y="195241"/>
                    <a:pt x="249372" y="194677"/>
                  </a:cubicBezTo>
                  <a:cubicBezTo>
                    <a:pt x="249372" y="194677"/>
                    <a:pt x="249372" y="194677"/>
                    <a:pt x="249372" y="194677"/>
                  </a:cubicBezTo>
                  <a:cubicBezTo>
                    <a:pt x="249372" y="194677"/>
                    <a:pt x="253792" y="197572"/>
                    <a:pt x="259431" y="196201"/>
                  </a:cubicBezTo>
                  <a:close/>
                  <a:moveTo>
                    <a:pt x="165857" y="356373"/>
                  </a:moveTo>
                  <a:cubicBezTo>
                    <a:pt x="170734" y="362469"/>
                    <a:pt x="175306" y="356373"/>
                    <a:pt x="181097" y="356373"/>
                  </a:cubicBezTo>
                  <a:cubicBezTo>
                    <a:pt x="184145" y="356373"/>
                    <a:pt x="187803" y="357440"/>
                    <a:pt x="188565" y="363536"/>
                  </a:cubicBezTo>
                  <a:cubicBezTo>
                    <a:pt x="188565" y="363536"/>
                    <a:pt x="188565" y="363536"/>
                    <a:pt x="188565" y="363536"/>
                  </a:cubicBezTo>
                  <a:cubicBezTo>
                    <a:pt x="192040" y="359985"/>
                    <a:pt x="191994" y="354301"/>
                    <a:pt x="188443" y="350826"/>
                  </a:cubicBezTo>
                  <a:cubicBezTo>
                    <a:pt x="186995" y="349393"/>
                    <a:pt x="185105" y="348509"/>
                    <a:pt x="183078" y="348296"/>
                  </a:cubicBezTo>
                  <a:cubicBezTo>
                    <a:pt x="186370" y="345279"/>
                    <a:pt x="191475" y="345507"/>
                    <a:pt x="194493" y="348799"/>
                  </a:cubicBezTo>
                  <a:cubicBezTo>
                    <a:pt x="194661" y="348982"/>
                    <a:pt x="194813" y="349165"/>
                    <a:pt x="194965" y="349363"/>
                  </a:cubicBezTo>
                  <a:cubicBezTo>
                    <a:pt x="194965" y="349363"/>
                    <a:pt x="194965" y="349363"/>
                    <a:pt x="194965" y="349363"/>
                  </a:cubicBezTo>
                  <a:cubicBezTo>
                    <a:pt x="194965" y="337476"/>
                    <a:pt x="186127" y="336713"/>
                    <a:pt x="179725" y="341743"/>
                  </a:cubicBezTo>
                  <a:cubicBezTo>
                    <a:pt x="178659" y="337171"/>
                    <a:pt x="182011" y="334123"/>
                    <a:pt x="186583" y="334123"/>
                  </a:cubicBezTo>
                  <a:cubicBezTo>
                    <a:pt x="186583" y="334123"/>
                    <a:pt x="186583" y="334123"/>
                    <a:pt x="186583" y="334123"/>
                  </a:cubicBezTo>
                  <a:cubicBezTo>
                    <a:pt x="178811" y="325589"/>
                    <a:pt x="172868" y="336256"/>
                    <a:pt x="171343" y="337933"/>
                  </a:cubicBezTo>
                  <a:cubicBezTo>
                    <a:pt x="168143" y="342200"/>
                    <a:pt x="156103" y="334275"/>
                    <a:pt x="152446" y="329551"/>
                  </a:cubicBezTo>
                  <a:cubicBezTo>
                    <a:pt x="157750" y="324095"/>
                    <a:pt x="161209" y="317115"/>
                    <a:pt x="162352" y="309586"/>
                  </a:cubicBezTo>
                  <a:lnTo>
                    <a:pt x="162352" y="307910"/>
                  </a:lnTo>
                  <a:cubicBezTo>
                    <a:pt x="162352" y="307910"/>
                    <a:pt x="162352" y="307910"/>
                    <a:pt x="162352" y="307910"/>
                  </a:cubicBezTo>
                  <a:cubicBezTo>
                    <a:pt x="163494" y="308611"/>
                    <a:pt x="164821" y="308931"/>
                    <a:pt x="166162" y="308824"/>
                  </a:cubicBezTo>
                  <a:cubicBezTo>
                    <a:pt x="168295" y="308824"/>
                    <a:pt x="172715" y="308824"/>
                    <a:pt x="172715" y="300138"/>
                  </a:cubicBezTo>
                  <a:cubicBezTo>
                    <a:pt x="172715" y="300138"/>
                    <a:pt x="172715" y="300138"/>
                    <a:pt x="172715" y="300138"/>
                  </a:cubicBezTo>
                  <a:cubicBezTo>
                    <a:pt x="171983" y="301403"/>
                    <a:pt x="170673" y="302210"/>
                    <a:pt x="169209" y="302271"/>
                  </a:cubicBezTo>
                  <a:cubicBezTo>
                    <a:pt x="161133" y="302271"/>
                    <a:pt x="144369" y="275449"/>
                    <a:pt x="124556" y="275449"/>
                  </a:cubicBezTo>
                  <a:cubicBezTo>
                    <a:pt x="117074" y="276104"/>
                    <a:pt x="110033" y="279274"/>
                    <a:pt x="104592" y="284440"/>
                  </a:cubicBezTo>
                  <a:cubicBezTo>
                    <a:pt x="106695" y="285904"/>
                    <a:pt x="107702" y="288494"/>
                    <a:pt x="107183" y="290993"/>
                  </a:cubicBezTo>
                  <a:cubicBezTo>
                    <a:pt x="106695" y="293965"/>
                    <a:pt x="104364" y="296297"/>
                    <a:pt x="101392" y="296785"/>
                  </a:cubicBezTo>
                  <a:cubicBezTo>
                    <a:pt x="101392" y="296785"/>
                    <a:pt x="101392" y="296785"/>
                    <a:pt x="101392" y="297547"/>
                  </a:cubicBezTo>
                  <a:cubicBezTo>
                    <a:pt x="113417" y="300793"/>
                    <a:pt x="125105" y="305182"/>
                    <a:pt x="136291" y="310653"/>
                  </a:cubicBezTo>
                  <a:cubicBezTo>
                    <a:pt x="141321" y="314920"/>
                    <a:pt x="140254" y="322998"/>
                    <a:pt x="137511" y="333970"/>
                  </a:cubicBezTo>
                  <a:cubicBezTo>
                    <a:pt x="134768" y="344943"/>
                    <a:pt x="128824" y="343114"/>
                    <a:pt x="126690" y="342809"/>
                  </a:cubicBezTo>
                  <a:cubicBezTo>
                    <a:pt x="124556" y="342505"/>
                    <a:pt x="126690" y="342809"/>
                    <a:pt x="126690" y="342809"/>
                  </a:cubicBezTo>
                  <a:cubicBezTo>
                    <a:pt x="128610" y="345553"/>
                    <a:pt x="131734" y="347199"/>
                    <a:pt x="135072" y="347229"/>
                  </a:cubicBezTo>
                  <a:cubicBezTo>
                    <a:pt x="140254" y="347229"/>
                    <a:pt x="142235" y="344029"/>
                    <a:pt x="144826" y="344029"/>
                  </a:cubicBezTo>
                  <a:cubicBezTo>
                    <a:pt x="147416" y="344029"/>
                    <a:pt x="158846" y="350429"/>
                    <a:pt x="158846" y="355459"/>
                  </a:cubicBezTo>
                  <a:cubicBezTo>
                    <a:pt x="158450" y="358446"/>
                    <a:pt x="156637" y="361067"/>
                    <a:pt x="153969" y="362469"/>
                  </a:cubicBezTo>
                  <a:cubicBezTo>
                    <a:pt x="153969" y="362469"/>
                    <a:pt x="153969" y="362469"/>
                    <a:pt x="153969" y="362469"/>
                  </a:cubicBezTo>
                  <a:cubicBezTo>
                    <a:pt x="153969" y="362469"/>
                    <a:pt x="164181" y="363841"/>
                    <a:pt x="165857" y="356373"/>
                  </a:cubicBezTo>
                  <a:close/>
                  <a:moveTo>
                    <a:pt x="384856" y="363231"/>
                  </a:moveTo>
                  <a:cubicBezTo>
                    <a:pt x="384856" y="363231"/>
                    <a:pt x="384856" y="363231"/>
                    <a:pt x="384856" y="363231"/>
                  </a:cubicBezTo>
                  <a:cubicBezTo>
                    <a:pt x="382189" y="361829"/>
                    <a:pt x="380375" y="359208"/>
                    <a:pt x="379979" y="356221"/>
                  </a:cubicBezTo>
                  <a:cubicBezTo>
                    <a:pt x="379979" y="351192"/>
                    <a:pt x="389428" y="344791"/>
                    <a:pt x="393848" y="344791"/>
                  </a:cubicBezTo>
                  <a:cubicBezTo>
                    <a:pt x="398267" y="344791"/>
                    <a:pt x="398572" y="347991"/>
                    <a:pt x="403753" y="347991"/>
                  </a:cubicBezTo>
                  <a:cubicBezTo>
                    <a:pt x="407091" y="347961"/>
                    <a:pt x="410215" y="346315"/>
                    <a:pt x="412135" y="343572"/>
                  </a:cubicBezTo>
                  <a:cubicBezTo>
                    <a:pt x="412135" y="343572"/>
                    <a:pt x="412135" y="343572"/>
                    <a:pt x="412135" y="343572"/>
                  </a:cubicBezTo>
                  <a:cubicBezTo>
                    <a:pt x="412135" y="343572"/>
                    <a:pt x="404058" y="345248"/>
                    <a:pt x="401315" y="334732"/>
                  </a:cubicBezTo>
                  <a:cubicBezTo>
                    <a:pt x="398572" y="324217"/>
                    <a:pt x="397505" y="315682"/>
                    <a:pt x="402534" y="311415"/>
                  </a:cubicBezTo>
                  <a:cubicBezTo>
                    <a:pt x="412851" y="305715"/>
                    <a:pt x="423672" y="300976"/>
                    <a:pt x="434843" y="297242"/>
                  </a:cubicBezTo>
                  <a:cubicBezTo>
                    <a:pt x="434843" y="297242"/>
                    <a:pt x="434843" y="297242"/>
                    <a:pt x="434843" y="296480"/>
                  </a:cubicBezTo>
                  <a:cubicBezTo>
                    <a:pt x="431872" y="295992"/>
                    <a:pt x="429540" y="293661"/>
                    <a:pt x="429052" y="290689"/>
                  </a:cubicBezTo>
                  <a:cubicBezTo>
                    <a:pt x="428534" y="288189"/>
                    <a:pt x="429540" y="285598"/>
                    <a:pt x="431643" y="284136"/>
                  </a:cubicBezTo>
                  <a:cubicBezTo>
                    <a:pt x="426202" y="278969"/>
                    <a:pt x="419161" y="275799"/>
                    <a:pt x="411678" y="275144"/>
                  </a:cubicBezTo>
                  <a:cubicBezTo>
                    <a:pt x="391867" y="275144"/>
                    <a:pt x="374949" y="301966"/>
                    <a:pt x="367025" y="301966"/>
                  </a:cubicBezTo>
                  <a:cubicBezTo>
                    <a:pt x="365562" y="301936"/>
                    <a:pt x="364221" y="301113"/>
                    <a:pt x="363519" y="299833"/>
                  </a:cubicBezTo>
                  <a:cubicBezTo>
                    <a:pt x="363519" y="299833"/>
                    <a:pt x="363519" y="299833"/>
                    <a:pt x="363519" y="299833"/>
                  </a:cubicBezTo>
                  <a:cubicBezTo>
                    <a:pt x="363519" y="307910"/>
                    <a:pt x="367787" y="308519"/>
                    <a:pt x="370073" y="308519"/>
                  </a:cubicBezTo>
                  <a:cubicBezTo>
                    <a:pt x="371414" y="308626"/>
                    <a:pt x="372740" y="308306"/>
                    <a:pt x="373883" y="307605"/>
                  </a:cubicBezTo>
                  <a:cubicBezTo>
                    <a:pt x="373883" y="307605"/>
                    <a:pt x="373883" y="307605"/>
                    <a:pt x="373883" y="307605"/>
                  </a:cubicBezTo>
                  <a:lnTo>
                    <a:pt x="373883" y="309282"/>
                  </a:lnTo>
                  <a:cubicBezTo>
                    <a:pt x="375011" y="316810"/>
                    <a:pt x="378486" y="323790"/>
                    <a:pt x="383789" y="329246"/>
                  </a:cubicBezTo>
                  <a:cubicBezTo>
                    <a:pt x="379370" y="333970"/>
                    <a:pt x="368549" y="341895"/>
                    <a:pt x="364891" y="337628"/>
                  </a:cubicBezTo>
                  <a:cubicBezTo>
                    <a:pt x="363519" y="335952"/>
                    <a:pt x="357577" y="325283"/>
                    <a:pt x="349651" y="333818"/>
                  </a:cubicBezTo>
                  <a:cubicBezTo>
                    <a:pt x="349651" y="333818"/>
                    <a:pt x="349651" y="333818"/>
                    <a:pt x="349651" y="333818"/>
                  </a:cubicBezTo>
                  <a:cubicBezTo>
                    <a:pt x="354223" y="333818"/>
                    <a:pt x="357577" y="336866"/>
                    <a:pt x="356357" y="341438"/>
                  </a:cubicBezTo>
                  <a:cubicBezTo>
                    <a:pt x="349957" y="336409"/>
                    <a:pt x="341117" y="337171"/>
                    <a:pt x="341117" y="349058"/>
                  </a:cubicBezTo>
                  <a:cubicBezTo>
                    <a:pt x="341117" y="349058"/>
                    <a:pt x="341117" y="349058"/>
                    <a:pt x="341117" y="349058"/>
                  </a:cubicBezTo>
                  <a:cubicBezTo>
                    <a:pt x="343815" y="345507"/>
                    <a:pt x="348890" y="344821"/>
                    <a:pt x="352440" y="347519"/>
                  </a:cubicBezTo>
                  <a:cubicBezTo>
                    <a:pt x="352638" y="347671"/>
                    <a:pt x="352821" y="347823"/>
                    <a:pt x="353004" y="347991"/>
                  </a:cubicBezTo>
                  <a:cubicBezTo>
                    <a:pt x="348128" y="348311"/>
                    <a:pt x="344455" y="352532"/>
                    <a:pt x="344775" y="357394"/>
                  </a:cubicBezTo>
                  <a:cubicBezTo>
                    <a:pt x="344927" y="359620"/>
                    <a:pt x="345903" y="361707"/>
                    <a:pt x="347518" y="363231"/>
                  </a:cubicBezTo>
                  <a:cubicBezTo>
                    <a:pt x="347518" y="363231"/>
                    <a:pt x="347518" y="363231"/>
                    <a:pt x="347518" y="363231"/>
                  </a:cubicBezTo>
                  <a:cubicBezTo>
                    <a:pt x="347518" y="357135"/>
                    <a:pt x="351938" y="356069"/>
                    <a:pt x="354985" y="356069"/>
                  </a:cubicBezTo>
                  <a:cubicBezTo>
                    <a:pt x="361234" y="356069"/>
                    <a:pt x="365806" y="361859"/>
                    <a:pt x="370225" y="356069"/>
                  </a:cubicBezTo>
                  <a:cubicBezTo>
                    <a:pt x="373883" y="363841"/>
                    <a:pt x="382722" y="363079"/>
                    <a:pt x="384856" y="362774"/>
                  </a:cubicBezTo>
                  <a:close/>
                  <a:moveTo>
                    <a:pt x="224531" y="208240"/>
                  </a:moveTo>
                  <a:cubicBezTo>
                    <a:pt x="224531" y="209155"/>
                    <a:pt x="221788" y="208240"/>
                    <a:pt x="221026" y="208240"/>
                  </a:cubicBezTo>
                  <a:lnTo>
                    <a:pt x="221026" y="208240"/>
                  </a:lnTo>
                  <a:cubicBezTo>
                    <a:pt x="221026" y="209459"/>
                    <a:pt x="223464" y="212812"/>
                    <a:pt x="226512" y="212812"/>
                  </a:cubicBezTo>
                  <a:cubicBezTo>
                    <a:pt x="227960" y="212828"/>
                    <a:pt x="229347" y="212218"/>
                    <a:pt x="230322" y="211136"/>
                  </a:cubicBezTo>
                  <a:cubicBezTo>
                    <a:pt x="230322" y="211136"/>
                    <a:pt x="242057" y="214946"/>
                    <a:pt x="247848" y="216470"/>
                  </a:cubicBezTo>
                  <a:cubicBezTo>
                    <a:pt x="245547" y="219518"/>
                    <a:pt x="244160" y="223176"/>
                    <a:pt x="243886" y="226986"/>
                  </a:cubicBezTo>
                  <a:cubicBezTo>
                    <a:pt x="239314" y="224090"/>
                    <a:pt x="220569" y="214184"/>
                    <a:pt x="220569" y="214184"/>
                  </a:cubicBezTo>
                  <a:lnTo>
                    <a:pt x="214778" y="221956"/>
                  </a:lnTo>
                  <a:cubicBezTo>
                    <a:pt x="213863" y="223328"/>
                    <a:pt x="209291" y="219975"/>
                    <a:pt x="210205" y="218603"/>
                  </a:cubicBezTo>
                  <a:lnTo>
                    <a:pt x="214625" y="212660"/>
                  </a:lnTo>
                  <a:cubicBezTo>
                    <a:pt x="213253" y="210983"/>
                    <a:pt x="209596" y="212660"/>
                    <a:pt x="208681" y="212660"/>
                  </a:cubicBezTo>
                  <a:cubicBezTo>
                    <a:pt x="207767" y="212660"/>
                    <a:pt x="208681" y="212660"/>
                    <a:pt x="208681" y="212660"/>
                  </a:cubicBezTo>
                  <a:cubicBezTo>
                    <a:pt x="210068" y="209505"/>
                    <a:pt x="213756" y="208073"/>
                    <a:pt x="216911" y="209459"/>
                  </a:cubicBezTo>
                  <a:cubicBezTo>
                    <a:pt x="216911" y="206107"/>
                    <a:pt x="212034" y="207173"/>
                    <a:pt x="210663" y="207479"/>
                  </a:cubicBezTo>
                  <a:cubicBezTo>
                    <a:pt x="209291" y="207783"/>
                    <a:pt x="210663" y="207479"/>
                    <a:pt x="210663" y="207479"/>
                  </a:cubicBezTo>
                  <a:cubicBezTo>
                    <a:pt x="213055" y="204522"/>
                    <a:pt x="217216" y="203699"/>
                    <a:pt x="220569" y="205497"/>
                  </a:cubicBezTo>
                  <a:lnTo>
                    <a:pt x="222549" y="202754"/>
                  </a:lnTo>
                  <a:lnTo>
                    <a:pt x="218588" y="198487"/>
                  </a:lnTo>
                  <a:lnTo>
                    <a:pt x="221026" y="195134"/>
                  </a:lnTo>
                  <a:lnTo>
                    <a:pt x="223921" y="198944"/>
                  </a:lnTo>
                  <a:lnTo>
                    <a:pt x="245409" y="169379"/>
                  </a:lnTo>
                  <a:cubicBezTo>
                    <a:pt x="247437" y="168357"/>
                    <a:pt x="249586" y="167595"/>
                    <a:pt x="251811" y="167092"/>
                  </a:cubicBezTo>
                  <a:cubicBezTo>
                    <a:pt x="252131" y="169363"/>
                    <a:pt x="252131" y="171680"/>
                    <a:pt x="251811" y="173950"/>
                  </a:cubicBezTo>
                  <a:lnTo>
                    <a:pt x="230627" y="203669"/>
                  </a:lnTo>
                  <a:lnTo>
                    <a:pt x="235046" y="205040"/>
                  </a:lnTo>
                  <a:lnTo>
                    <a:pt x="232608" y="208545"/>
                  </a:lnTo>
                  <a:lnTo>
                    <a:pt x="227274" y="206107"/>
                  </a:lnTo>
                  <a:close/>
                  <a:moveTo>
                    <a:pt x="300731" y="203516"/>
                  </a:moveTo>
                  <a:cubicBezTo>
                    <a:pt x="300731" y="206107"/>
                    <a:pt x="302255" y="210069"/>
                    <a:pt x="305913" y="209002"/>
                  </a:cubicBezTo>
                  <a:cubicBezTo>
                    <a:pt x="305913" y="209002"/>
                    <a:pt x="305913" y="209002"/>
                    <a:pt x="305913" y="209002"/>
                  </a:cubicBezTo>
                  <a:cubicBezTo>
                    <a:pt x="305913" y="212050"/>
                    <a:pt x="299969" y="214793"/>
                    <a:pt x="297531" y="211136"/>
                  </a:cubicBezTo>
                  <a:cubicBezTo>
                    <a:pt x="295092" y="214672"/>
                    <a:pt x="295977" y="219503"/>
                    <a:pt x="299512" y="221941"/>
                  </a:cubicBezTo>
                  <a:cubicBezTo>
                    <a:pt x="299847" y="222185"/>
                    <a:pt x="300213" y="222383"/>
                    <a:pt x="300579" y="222566"/>
                  </a:cubicBezTo>
                  <a:cubicBezTo>
                    <a:pt x="300579" y="222566"/>
                    <a:pt x="300579" y="222566"/>
                    <a:pt x="300579" y="223328"/>
                  </a:cubicBezTo>
                  <a:cubicBezTo>
                    <a:pt x="297744" y="225309"/>
                    <a:pt x="293858" y="224608"/>
                    <a:pt x="291876" y="221789"/>
                  </a:cubicBezTo>
                  <a:cubicBezTo>
                    <a:pt x="291709" y="221545"/>
                    <a:pt x="291572" y="221301"/>
                    <a:pt x="291435" y="221042"/>
                  </a:cubicBezTo>
                  <a:cubicBezTo>
                    <a:pt x="288082" y="223831"/>
                    <a:pt x="287610" y="228799"/>
                    <a:pt x="290368" y="232167"/>
                  </a:cubicBezTo>
                  <a:cubicBezTo>
                    <a:pt x="284226" y="235764"/>
                    <a:pt x="276789" y="236434"/>
                    <a:pt x="270099" y="233996"/>
                  </a:cubicBezTo>
                  <a:cubicBezTo>
                    <a:pt x="264201" y="229988"/>
                    <a:pt x="257266" y="227763"/>
                    <a:pt x="250134" y="227595"/>
                  </a:cubicBezTo>
                  <a:cubicBezTo>
                    <a:pt x="251353" y="216013"/>
                    <a:pt x="257145" y="212355"/>
                    <a:pt x="267813" y="211289"/>
                  </a:cubicBezTo>
                  <a:cubicBezTo>
                    <a:pt x="278481" y="210222"/>
                    <a:pt x="277414" y="205954"/>
                    <a:pt x="276195" y="203059"/>
                  </a:cubicBezTo>
                  <a:cubicBezTo>
                    <a:pt x="273344" y="202952"/>
                    <a:pt x="270510" y="203577"/>
                    <a:pt x="267965" y="204888"/>
                  </a:cubicBezTo>
                  <a:cubicBezTo>
                    <a:pt x="267355" y="203912"/>
                    <a:pt x="267355" y="202663"/>
                    <a:pt x="267965" y="201687"/>
                  </a:cubicBezTo>
                  <a:cubicBezTo>
                    <a:pt x="267767" y="200727"/>
                    <a:pt x="267767" y="199752"/>
                    <a:pt x="267965" y="198792"/>
                  </a:cubicBezTo>
                  <a:cubicBezTo>
                    <a:pt x="273909" y="198792"/>
                    <a:pt x="274975" y="197572"/>
                    <a:pt x="274975" y="197572"/>
                  </a:cubicBezTo>
                  <a:cubicBezTo>
                    <a:pt x="276042" y="191324"/>
                    <a:pt x="269641" y="190714"/>
                    <a:pt x="264917" y="194067"/>
                  </a:cubicBezTo>
                  <a:cubicBezTo>
                    <a:pt x="263561" y="192878"/>
                    <a:pt x="262829" y="191141"/>
                    <a:pt x="262936" y="189343"/>
                  </a:cubicBezTo>
                  <a:cubicBezTo>
                    <a:pt x="262341" y="188916"/>
                    <a:pt x="261945" y="188245"/>
                    <a:pt x="261869" y="187514"/>
                  </a:cubicBezTo>
                  <a:cubicBezTo>
                    <a:pt x="261869" y="186142"/>
                    <a:pt x="269032" y="182180"/>
                    <a:pt x="270708" y="181723"/>
                  </a:cubicBezTo>
                  <a:cubicBezTo>
                    <a:pt x="272385" y="181266"/>
                    <a:pt x="273757" y="176693"/>
                    <a:pt x="281377" y="177456"/>
                  </a:cubicBezTo>
                  <a:cubicBezTo>
                    <a:pt x="281773" y="173630"/>
                    <a:pt x="281255" y="169759"/>
                    <a:pt x="279852" y="166178"/>
                  </a:cubicBezTo>
                  <a:cubicBezTo>
                    <a:pt x="279852" y="166178"/>
                    <a:pt x="279852" y="165263"/>
                    <a:pt x="279852" y="166178"/>
                  </a:cubicBezTo>
                  <a:cubicBezTo>
                    <a:pt x="279852" y="167092"/>
                    <a:pt x="285034" y="173950"/>
                    <a:pt x="286863" y="174103"/>
                  </a:cubicBezTo>
                  <a:cubicBezTo>
                    <a:pt x="288691" y="174255"/>
                    <a:pt x="295397" y="169683"/>
                    <a:pt x="295702" y="169836"/>
                  </a:cubicBezTo>
                  <a:cubicBezTo>
                    <a:pt x="296464" y="173051"/>
                    <a:pt x="297013" y="176313"/>
                    <a:pt x="297378" y="179589"/>
                  </a:cubicBezTo>
                  <a:cubicBezTo>
                    <a:pt x="298445" y="180961"/>
                    <a:pt x="304998" y="179589"/>
                    <a:pt x="307894" y="180809"/>
                  </a:cubicBezTo>
                  <a:cubicBezTo>
                    <a:pt x="310790" y="182028"/>
                    <a:pt x="307894" y="181723"/>
                    <a:pt x="307894" y="181723"/>
                  </a:cubicBezTo>
                  <a:cubicBezTo>
                    <a:pt x="304191" y="182667"/>
                    <a:pt x="300761" y="184435"/>
                    <a:pt x="297835" y="186904"/>
                  </a:cubicBezTo>
                  <a:cubicBezTo>
                    <a:pt x="300152" y="191949"/>
                    <a:pt x="300899" y="197588"/>
                    <a:pt x="299969" y="203059"/>
                  </a:cubicBezTo>
                  <a:close/>
                </a:path>
              </a:pathLst>
            </a:custGeom>
            <a:solidFill>
              <a:srgbClr val="FFFFFF"/>
            </a:solidFill>
            <a:ln w="15240" cap="flat">
              <a:noFill/>
              <a:prstDash val="solid"/>
              <a:miter/>
            </a:ln>
          </p:spPr>
          <p:txBody>
            <a:bodyPr rtlCol="0" anchor="ctr"/>
            <a:lstStyle/>
            <a:p>
              <a:endParaRPr lang="nl-NL"/>
            </a:p>
          </p:txBody>
        </p:sp>
      </p:grpSp>
      <p:sp>
        <p:nvSpPr>
          <p:cNvPr id="31" name="Tijdelijke aanduiding voor tekst 72">
            <a:extLst>
              <a:ext uri="{FF2B5EF4-FFF2-40B4-BE49-F238E27FC236}">
                <a16:creationId xmlns:a16="http://schemas.microsoft.com/office/drawing/2014/main" id="{7809A719-9A1E-4A94-A0A1-F0763C779B0B}"/>
              </a:ext>
            </a:extLst>
          </p:cNvPr>
          <p:cNvSpPr>
            <a:spLocks noGrp="1"/>
          </p:cNvSpPr>
          <p:nvPr>
            <p:ph type="body" sz="quarter" idx="11" hasCustomPrompt="1"/>
          </p:nvPr>
        </p:nvSpPr>
        <p:spPr>
          <a:xfrm>
            <a:off x="677863" y="6364065"/>
            <a:ext cx="8133628" cy="254000"/>
          </a:xfrm>
        </p:spPr>
        <p:txBody>
          <a:bodyPr>
            <a:normAutofit/>
          </a:bodyPr>
          <a:lstStyle>
            <a:lvl1pPr marL="0" indent="0">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nl-NL" dirty="0"/>
              <a:t>Naam | datum</a:t>
            </a:r>
          </a:p>
        </p:txBody>
      </p:sp>
      <p:pic>
        <p:nvPicPr>
          <p:cNvPr id="32" name="RO logo Positief" hidden="1">
            <a:extLst>
              <a:ext uri="{FF2B5EF4-FFF2-40B4-BE49-F238E27FC236}">
                <a16:creationId xmlns:a16="http://schemas.microsoft.com/office/drawing/2014/main" id="{8445707C-009E-C54A-81A5-C6B84013AAD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7012" y="-1"/>
            <a:ext cx="4029075" cy="1594485"/>
          </a:xfrm>
          <a:prstGeom prst="rect">
            <a:avLst/>
          </a:prstGeom>
        </p:spPr>
      </p:pic>
    </p:spTree>
    <p:extLst>
      <p:ext uri="{BB962C8B-B14F-4D97-AF65-F5344CB8AC3E}">
        <p14:creationId xmlns:p14="http://schemas.microsoft.com/office/powerpoint/2010/main" val="135488153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ekst met iconen">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680400" y="1684338"/>
            <a:ext cx="8123237" cy="4537075"/>
          </a:xfrm>
        </p:spPr>
        <p:txBody>
          <a:bodyPr numCol="1" spcCol="216000">
            <a:noAutofit/>
          </a:bodyPr>
          <a:lstStyle>
            <a:lvl1pPr marL="0" indent="0">
              <a:spcBef>
                <a:spcPts val="0"/>
              </a:spcBef>
              <a:buNone/>
              <a:defRPr/>
            </a:lvl1pPr>
            <a:lvl2pPr marL="266700" indent="-266700">
              <a:defRPr/>
            </a:lvl2pPr>
            <a:lvl3pPr marL="538163" indent="-271463">
              <a:defRPr/>
            </a:lvl3pPr>
            <a:lvl4pPr marL="804863" indent="-266700">
              <a:defRPr/>
            </a:lvl4pPr>
            <a:lvl5pPr marL="984250" indent="-179388">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hasCustomPrompt="1"/>
          </p:nvPr>
        </p:nvSpPr>
        <p:spPr>
          <a:xfrm>
            <a:off x="681038" y="768842"/>
            <a:ext cx="10830562" cy="915496"/>
          </a:xfrm>
        </p:spPr>
        <p:txBody>
          <a:bodyPr anchor="t" anchorCtr="0">
            <a:noAutofit/>
          </a:bodyPr>
          <a:lstStyle>
            <a:lvl1pPr>
              <a:lnSpc>
                <a:spcPct val="90000"/>
              </a:lnSpc>
              <a:defRPr/>
            </a:lvl1pPr>
          </a:lstStyle>
          <a:p>
            <a:r>
              <a:rPr lang="nl-NL" dirty="0"/>
              <a:t>Klikken om de titelstijl te bewerken</a:t>
            </a:r>
          </a:p>
        </p:txBody>
      </p:sp>
      <p:sp>
        <p:nvSpPr>
          <p:cNvPr id="15" name="Tijdelijke aanduiding voor dianummer 14"/>
          <p:cNvSpPr>
            <a:spLocks noGrp="1"/>
          </p:cNvSpPr>
          <p:nvPr>
            <p:ph type="sldNum" sz="quarter" idx="12"/>
          </p:nvPr>
        </p:nvSpPr>
        <p:spPr>
          <a:xfrm>
            <a:off x="10836275" y="6489700"/>
            <a:ext cx="674688" cy="252413"/>
          </a:xfrm>
          <a:prstGeom prst="rect">
            <a:avLst/>
          </a:prstGeom>
        </p:spPr>
        <p:txBody>
          <a:bodyPr lIns="0" rIns="0"/>
          <a:lstStyle/>
          <a:p>
            <a:fld id="{10A0A6AF-03C5-477E-939A-E28F7E7F05EA}" type="slidenum">
              <a:rPr lang="nl-NL" smtClean="0"/>
              <a:pPr/>
              <a:t>‹nr.›</a:t>
            </a:fld>
            <a:endParaRPr lang="nl-NL" dirty="0"/>
          </a:p>
        </p:txBody>
      </p:sp>
      <p:sp>
        <p:nvSpPr>
          <p:cNvPr id="5" name="Vrije vorm: vorm 4">
            <a:extLst>
              <a:ext uri="{FF2B5EF4-FFF2-40B4-BE49-F238E27FC236}">
                <a16:creationId xmlns:a16="http://schemas.microsoft.com/office/drawing/2014/main" id="{0B44D010-A62E-4D13-ACDA-1C20B10FAE7F}"/>
              </a:ext>
            </a:extLst>
          </p:cNvPr>
          <p:cNvSpPr/>
          <p:nvPr userDrawn="1"/>
        </p:nvSpPr>
        <p:spPr>
          <a:xfrm>
            <a:off x="680400" y="5896963"/>
            <a:ext cx="623719" cy="595176"/>
          </a:xfrm>
          <a:custGeom>
            <a:avLst/>
            <a:gdLst>
              <a:gd name="connsiteX0" fmla="*/ 16655 w 623719"/>
              <a:gd name="connsiteY0" fmla="*/ 16461 h 595176"/>
              <a:gd name="connsiteX1" fmla="*/ 93173 w 623719"/>
              <a:gd name="connsiteY1" fmla="*/ 16766 h 595176"/>
              <a:gd name="connsiteX2" fmla="*/ 108865 w 623719"/>
              <a:gd name="connsiteY2" fmla="*/ 54717 h 595176"/>
              <a:gd name="connsiteX3" fmla="*/ 651 w 623719"/>
              <a:gd name="connsiteY3" fmla="*/ 54717 h 595176"/>
              <a:gd name="connsiteX4" fmla="*/ 16655 w 623719"/>
              <a:gd name="connsiteY4" fmla="*/ 16461 h 595176"/>
              <a:gd name="connsiteX5" fmla="*/ 16655 w 623719"/>
              <a:gd name="connsiteY5" fmla="*/ 124675 h 595176"/>
              <a:gd name="connsiteX6" fmla="*/ 93173 w 623719"/>
              <a:gd name="connsiteY6" fmla="*/ 124979 h 595176"/>
              <a:gd name="connsiteX7" fmla="*/ 108865 w 623719"/>
              <a:gd name="connsiteY7" fmla="*/ 162931 h 595176"/>
              <a:gd name="connsiteX8" fmla="*/ 651 w 623719"/>
              <a:gd name="connsiteY8" fmla="*/ 162931 h 595176"/>
              <a:gd name="connsiteX9" fmla="*/ 16655 w 623719"/>
              <a:gd name="connsiteY9" fmla="*/ 124675 h 595176"/>
              <a:gd name="connsiteX10" fmla="*/ 16655 w 623719"/>
              <a:gd name="connsiteY10" fmla="*/ 232889 h 595176"/>
              <a:gd name="connsiteX11" fmla="*/ 93173 w 623719"/>
              <a:gd name="connsiteY11" fmla="*/ 233193 h 595176"/>
              <a:gd name="connsiteX12" fmla="*/ 108865 w 623719"/>
              <a:gd name="connsiteY12" fmla="*/ 271145 h 595176"/>
              <a:gd name="connsiteX13" fmla="*/ 651 w 623719"/>
              <a:gd name="connsiteY13" fmla="*/ 271145 h 595176"/>
              <a:gd name="connsiteX14" fmla="*/ 16655 w 623719"/>
              <a:gd name="connsiteY14" fmla="*/ 232889 h 595176"/>
              <a:gd name="connsiteX15" fmla="*/ 16655 w 623719"/>
              <a:gd name="connsiteY15" fmla="*/ 341103 h 595176"/>
              <a:gd name="connsiteX16" fmla="*/ 93173 w 623719"/>
              <a:gd name="connsiteY16" fmla="*/ 341407 h 595176"/>
              <a:gd name="connsiteX17" fmla="*/ 108865 w 623719"/>
              <a:gd name="connsiteY17" fmla="*/ 379359 h 595176"/>
              <a:gd name="connsiteX18" fmla="*/ 651 w 623719"/>
              <a:gd name="connsiteY18" fmla="*/ 379359 h 595176"/>
              <a:gd name="connsiteX19" fmla="*/ 16655 w 623719"/>
              <a:gd name="connsiteY19" fmla="*/ 341103 h 595176"/>
              <a:gd name="connsiteX20" fmla="*/ 54758 w 623719"/>
              <a:gd name="connsiteY20" fmla="*/ 433465 h 595176"/>
              <a:gd name="connsiteX21" fmla="*/ 75487 w 623719"/>
              <a:gd name="connsiteY21" fmla="*/ 437428 h 595176"/>
              <a:gd name="connsiteX22" fmla="*/ 93014 w 623719"/>
              <a:gd name="connsiteY22" fmla="*/ 449317 h 595176"/>
              <a:gd name="connsiteX23" fmla="*/ 104140 w 623719"/>
              <a:gd name="connsiteY23" fmla="*/ 466082 h 595176"/>
              <a:gd name="connsiteX24" fmla="*/ 108865 w 623719"/>
              <a:gd name="connsiteY24" fmla="*/ 487572 h 595176"/>
              <a:gd name="connsiteX25" fmla="*/ 651 w 623719"/>
              <a:gd name="connsiteY25" fmla="*/ 487572 h 595176"/>
              <a:gd name="connsiteX26" fmla="*/ 54758 w 623719"/>
              <a:gd name="connsiteY26" fmla="*/ 433465 h 595176"/>
              <a:gd name="connsiteX27" fmla="*/ 54758 w 623719"/>
              <a:gd name="connsiteY27" fmla="*/ 541680 h 595176"/>
              <a:gd name="connsiteX28" fmla="*/ 93014 w 623719"/>
              <a:gd name="connsiteY28" fmla="*/ 556921 h 595176"/>
              <a:gd name="connsiteX29" fmla="*/ 108256 w 623719"/>
              <a:gd name="connsiteY29" fmla="*/ 595177 h 595176"/>
              <a:gd name="connsiteX30" fmla="*/ 42 w 623719"/>
              <a:gd name="connsiteY30" fmla="*/ 595177 h 595176"/>
              <a:gd name="connsiteX31" fmla="*/ 15283 w 623719"/>
              <a:gd name="connsiteY31" fmla="*/ 556616 h 595176"/>
              <a:gd name="connsiteX32" fmla="*/ 54758 w 623719"/>
              <a:gd name="connsiteY32" fmla="*/ 541680 h 595176"/>
              <a:gd name="connsiteX33" fmla="*/ 183701 w 623719"/>
              <a:gd name="connsiteY33" fmla="*/ 610 h 595176"/>
              <a:gd name="connsiteX34" fmla="*/ 237808 w 623719"/>
              <a:gd name="connsiteY34" fmla="*/ 54717 h 595176"/>
              <a:gd name="connsiteX35" fmla="*/ 129594 w 623719"/>
              <a:gd name="connsiteY35" fmla="*/ 54717 h 595176"/>
              <a:gd name="connsiteX36" fmla="*/ 144835 w 623719"/>
              <a:gd name="connsiteY36" fmla="*/ 16461 h 595176"/>
              <a:gd name="connsiteX37" fmla="*/ 183701 w 623719"/>
              <a:gd name="connsiteY37" fmla="*/ 610 h 595176"/>
              <a:gd name="connsiteX38" fmla="*/ 183701 w 623719"/>
              <a:gd name="connsiteY38" fmla="*/ 108824 h 595176"/>
              <a:gd name="connsiteX39" fmla="*/ 237808 w 623719"/>
              <a:gd name="connsiteY39" fmla="*/ 162931 h 595176"/>
              <a:gd name="connsiteX40" fmla="*/ 129594 w 623719"/>
              <a:gd name="connsiteY40" fmla="*/ 162931 h 595176"/>
              <a:gd name="connsiteX41" fmla="*/ 144835 w 623719"/>
              <a:gd name="connsiteY41" fmla="*/ 124675 h 595176"/>
              <a:gd name="connsiteX42" fmla="*/ 183701 w 623719"/>
              <a:gd name="connsiteY42" fmla="*/ 108824 h 595176"/>
              <a:gd name="connsiteX43" fmla="*/ 183701 w 623719"/>
              <a:gd name="connsiteY43" fmla="*/ 217038 h 595176"/>
              <a:gd name="connsiteX44" fmla="*/ 237808 w 623719"/>
              <a:gd name="connsiteY44" fmla="*/ 271145 h 595176"/>
              <a:gd name="connsiteX45" fmla="*/ 129594 w 623719"/>
              <a:gd name="connsiteY45" fmla="*/ 271145 h 595176"/>
              <a:gd name="connsiteX46" fmla="*/ 144835 w 623719"/>
              <a:gd name="connsiteY46" fmla="*/ 232889 h 595176"/>
              <a:gd name="connsiteX47" fmla="*/ 183701 w 623719"/>
              <a:gd name="connsiteY47" fmla="*/ 217038 h 595176"/>
              <a:gd name="connsiteX48" fmla="*/ 183701 w 623719"/>
              <a:gd name="connsiteY48" fmla="*/ 325251 h 595176"/>
              <a:gd name="connsiteX49" fmla="*/ 237808 w 623719"/>
              <a:gd name="connsiteY49" fmla="*/ 379359 h 595176"/>
              <a:gd name="connsiteX50" fmla="*/ 129594 w 623719"/>
              <a:gd name="connsiteY50" fmla="*/ 379359 h 595176"/>
              <a:gd name="connsiteX51" fmla="*/ 144835 w 623719"/>
              <a:gd name="connsiteY51" fmla="*/ 341103 h 595176"/>
              <a:gd name="connsiteX52" fmla="*/ 183701 w 623719"/>
              <a:gd name="connsiteY52" fmla="*/ 325251 h 595176"/>
              <a:gd name="connsiteX53" fmla="*/ 183701 w 623719"/>
              <a:gd name="connsiteY53" fmla="*/ 433465 h 595176"/>
              <a:gd name="connsiteX54" fmla="*/ 204429 w 623719"/>
              <a:gd name="connsiteY54" fmla="*/ 437428 h 595176"/>
              <a:gd name="connsiteX55" fmla="*/ 221042 w 623719"/>
              <a:gd name="connsiteY55" fmla="*/ 449317 h 595176"/>
              <a:gd name="connsiteX56" fmla="*/ 233083 w 623719"/>
              <a:gd name="connsiteY56" fmla="*/ 466082 h 595176"/>
              <a:gd name="connsiteX57" fmla="*/ 237808 w 623719"/>
              <a:gd name="connsiteY57" fmla="*/ 487572 h 595176"/>
              <a:gd name="connsiteX58" fmla="*/ 129594 w 623719"/>
              <a:gd name="connsiteY58" fmla="*/ 487572 h 595176"/>
              <a:gd name="connsiteX59" fmla="*/ 144835 w 623719"/>
              <a:gd name="connsiteY59" fmla="*/ 449317 h 595176"/>
              <a:gd name="connsiteX60" fmla="*/ 183701 w 623719"/>
              <a:gd name="connsiteY60" fmla="*/ 433465 h 595176"/>
              <a:gd name="connsiteX61" fmla="*/ 183701 w 623719"/>
              <a:gd name="connsiteY61" fmla="*/ 541680 h 595176"/>
              <a:gd name="connsiteX62" fmla="*/ 221804 w 623719"/>
              <a:gd name="connsiteY62" fmla="*/ 556921 h 595176"/>
              <a:gd name="connsiteX63" fmla="*/ 237808 w 623719"/>
              <a:gd name="connsiteY63" fmla="*/ 595177 h 595176"/>
              <a:gd name="connsiteX64" fmla="*/ 129594 w 623719"/>
              <a:gd name="connsiteY64" fmla="*/ 595177 h 595176"/>
              <a:gd name="connsiteX65" fmla="*/ 181545 w 623719"/>
              <a:gd name="connsiteY65" fmla="*/ 541070 h 595176"/>
              <a:gd name="connsiteX66" fmla="*/ 183701 w 623719"/>
              <a:gd name="connsiteY66" fmla="*/ 541070 h 595176"/>
              <a:gd name="connsiteX67" fmla="*/ 273625 w 623719"/>
              <a:gd name="connsiteY67" fmla="*/ 16461 h 595176"/>
              <a:gd name="connsiteX68" fmla="*/ 350123 w 623719"/>
              <a:gd name="connsiteY68" fmla="*/ 18259 h 595176"/>
              <a:gd name="connsiteX69" fmla="*/ 365073 w 623719"/>
              <a:gd name="connsiteY69" fmla="*/ 54717 h 595176"/>
              <a:gd name="connsiteX70" fmla="*/ 256859 w 623719"/>
              <a:gd name="connsiteY70" fmla="*/ 54717 h 595176"/>
              <a:gd name="connsiteX71" fmla="*/ 273625 w 623719"/>
              <a:gd name="connsiteY71" fmla="*/ 16461 h 595176"/>
              <a:gd name="connsiteX72" fmla="*/ 273625 w 623719"/>
              <a:gd name="connsiteY72" fmla="*/ 124675 h 595176"/>
              <a:gd name="connsiteX73" fmla="*/ 350123 w 623719"/>
              <a:gd name="connsiteY73" fmla="*/ 126473 h 595176"/>
              <a:gd name="connsiteX74" fmla="*/ 365073 w 623719"/>
              <a:gd name="connsiteY74" fmla="*/ 162931 h 595176"/>
              <a:gd name="connsiteX75" fmla="*/ 256859 w 623719"/>
              <a:gd name="connsiteY75" fmla="*/ 162931 h 595176"/>
              <a:gd name="connsiteX76" fmla="*/ 273625 w 623719"/>
              <a:gd name="connsiteY76" fmla="*/ 124675 h 595176"/>
              <a:gd name="connsiteX77" fmla="*/ 273625 w 623719"/>
              <a:gd name="connsiteY77" fmla="*/ 232889 h 595176"/>
              <a:gd name="connsiteX78" fmla="*/ 350123 w 623719"/>
              <a:gd name="connsiteY78" fmla="*/ 234687 h 595176"/>
              <a:gd name="connsiteX79" fmla="*/ 365073 w 623719"/>
              <a:gd name="connsiteY79" fmla="*/ 271145 h 595176"/>
              <a:gd name="connsiteX80" fmla="*/ 256859 w 623719"/>
              <a:gd name="connsiteY80" fmla="*/ 271145 h 595176"/>
              <a:gd name="connsiteX81" fmla="*/ 273625 w 623719"/>
              <a:gd name="connsiteY81" fmla="*/ 232889 h 595176"/>
              <a:gd name="connsiteX82" fmla="*/ 273625 w 623719"/>
              <a:gd name="connsiteY82" fmla="*/ 341103 h 595176"/>
              <a:gd name="connsiteX83" fmla="*/ 350123 w 623719"/>
              <a:gd name="connsiteY83" fmla="*/ 342901 h 595176"/>
              <a:gd name="connsiteX84" fmla="*/ 365073 w 623719"/>
              <a:gd name="connsiteY84" fmla="*/ 379359 h 595176"/>
              <a:gd name="connsiteX85" fmla="*/ 256859 w 623719"/>
              <a:gd name="connsiteY85" fmla="*/ 379359 h 595176"/>
              <a:gd name="connsiteX86" fmla="*/ 273625 w 623719"/>
              <a:gd name="connsiteY86" fmla="*/ 341103 h 595176"/>
              <a:gd name="connsiteX87" fmla="*/ 311728 w 623719"/>
              <a:gd name="connsiteY87" fmla="*/ 433465 h 595176"/>
              <a:gd name="connsiteX88" fmla="*/ 332457 w 623719"/>
              <a:gd name="connsiteY88" fmla="*/ 437428 h 595176"/>
              <a:gd name="connsiteX89" fmla="*/ 349984 w 623719"/>
              <a:gd name="connsiteY89" fmla="*/ 449317 h 595176"/>
              <a:gd name="connsiteX90" fmla="*/ 361873 w 623719"/>
              <a:gd name="connsiteY90" fmla="*/ 466082 h 595176"/>
              <a:gd name="connsiteX91" fmla="*/ 365835 w 623719"/>
              <a:gd name="connsiteY91" fmla="*/ 487572 h 595176"/>
              <a:gd name="connsiteX92" fmla="*/ 257621 w 623719"/>
              <a:gd name="connsiteY92" fmla="*/ 487572 h 595176"/>
              <a:gd name="connsiteX93" fmla="*/ 311728 w 623719"/>
              <a:gd name="connsiteY93" fmla="*/ 433465 h 595176"/>
              <a:gd name="connsiteX94" fmla="*/ 311728 w 623719"/>
              <a:gd name="connsiteY94" fmla="*/ 541680 h 595176"/>
              <a:gd name="connsiteX95" fmla="*/ 349984 w 623719"/>
              <a:gd name="connsiteY95" fmla="*/ 556921 h 595176"/>
              <a:gd name="connsiteX96" fmla="*/ 365226 w 623719"/>
              <a:gd name="connsiteY96" fmla="*/ 592738 h 595176"/>
              <a:gd name="connsiteX97" fmla="*/ 365226 w 623719"/>
              <a:gd name="connsiteY97" fmla="*/ 595177 h 595176"/>
              <a:gd name="connsiteX98" fmla="*/ 257012 w 623719"/>
              <a:gd name="connsiteY98" fmla="*/ 595177 h 595176"/>
              <a:gd name="connsiteX99" fmla="*/ 272253 w 623719"/>
              <a:gd name="connsiteY99" fmla="*/ 556616 h 595176"/>
              <a:gd name="connsiteX100" fmla="*/ 311728 w 623719"/>
              <a:gd name="connsiteY100" fmla="*/ 541680 h 595176"/>
              <a:gd name="connsiteX101" fmla="*/ 439908 w 623719"/>
              <a:gd name="connsiteY101" fmla="*/ 610 h 595176"/>
              <a:gd name="connsiteX102" fmla="*/ 478927 w 623719"/>
              <a:gd name="connsiteY102" fmla="*/ 15851 h 595176"/>
              <a:gd name="connsiteX103" fmla="*/ 494168 w 623719"/>
              <a:gd name="connsiteY103" fmla="*/ 54107 h 595176"/>
              <a:gd name="connsiteX104" fmla="*/ 385954 w 623719"/>
              <a:gd name="connsiteY104" fmla="*/ 54107 h 595176"/>
              <a:gd name="connsiteX105" fmla="*/ 440061 w 623719"/>
              <a:gd name="connsiteY105" fmla="*/ 0 h 595176"/>
              <a:gd name="connsiteX106" fmla="*/ 439908 w 623719"/>
              <a:gd name="connsiteY106" fmla="*/ 108824 h 595176"/>
              <a:gd name="connsiteX107" fmla="*/ 478927 w 623719"/>
              <a:gd name="connsiteY107" fmla="*/ 124065 h 595176"/>
              <a:gd name="connsiteX108" fmla="*/ 494168 w 623719"/>
              <a:gd name="connsiteY108" fmla="*/ 162321 h 595176"/>
              <a:gd name="connsiteX109" fmla="*/ 385954 w 623719"/>
              <a:gd name="connsiteY109" fmla="*/ 162321 h 595176"/>
              <a:gd name="connsiteX110" fmla="*/ 440061 w 623719"/>
              <a:gd name="connsiteY110" fmla="*/ 108214 h 595176"/>
              <a:gd name="connsiteX111" fmla="*/ 439908 w 623719"/>
              <a:gd name="connsiteY111" fmla="*/ 217038 h 595176"/>
              <a:gd name="connsiteX112" fmla="*/ 478927 w 623719"/>
              <a:gd name="connsiteY112" fmla="*/ 232279 h 595176"/>
              <a:gd name="connsiteX113" fmla="*/ 494168 w 623719"/>
              <a:gd name="connsiteY113" fmla="*/ 270535 h 595176"/>
              <a:gd name="connsiteX114" fmla="*/ 385954 w 623719"/>
              <a:gd name="connsiteY114" fmla="*/ 270535 h 595176"/>
              <a:gd name="connsiteX115" fmla="*/ 440061 w 623719"/>
              <a:gd name="connsiteY115" fmla="*/ 216428 h 595176"/>
              <a:gd name="connsiteX116" fmla="*/ 439908 w 623719"/>
              <a:gd name="connsiteY116" fmla="*/ 325251 h 595176"/>
              <a:gd name="connsiteX117" fmla="*/ 478927 w 623719"/>
              <a:gd name="connsiteY117" fmla="*/ 340493 h 595176"/>
              <a:gd name="connsiteX118" fmla="*/ 494168 w 623719"/>
              <a:gd name="connsiteY118" fmla="*/ 378749 h 595176"/>
              <a:gd name="connsiteX119" fmla="*/ 385954 w 623719"/>
              <a:gd name="connsiteY119" fmla="*/ 378749 h 595176"/>
              <a:gd name="connsiteX120" fmla="*/ 440061 w 623719"/>
              <a:gd name="connsiteY120" fmla="*/ 324642 h 595176"/>
              <a:gd name="connsiteX121" fmla="*/ 439908 w 623719"/>
              <a:gd name="connsiteY121" fmla="*/ 433465 h 595176"/>
              <a:gd name="connsiteX122" fmla="*/ 461246 w 623719"/>
              <a:gd name="connsiteY122" fmla="*/ 437276 h 595176"/>
              <a:gd name="connsiteX123" fmla="*/ 478012 w 623719"/>
              <a:gd name="connsiteY123" fmla="*/ 449164 h 595176"/>
              <a:gd name="connsiteX124" fmla="*/ 489900 w 623719"/>
              <a:gd name="connsiteY124" fmla="*/ 465930 h 595176"/>
              <a:gd name="connsiteX125" fmla="*/ 493863 w 623719"/>
              <a:gd name="connsiteY125" fmla="*/ 487420 h 595176"/>
              <a:gd name="connsiteX126" fmla="*/ 385649 w 623719"/>
              <a:gd name="connsiteY126" fmla="*/ 487420 h 595176"/>
              <a:gd name="connsiteX127" fmla="*/ 439756 w 623719"/>
              <a:gd name="connsiteY127" fmla="*/ 433313 h 595176"/>
              <a:gd name="connsiteX128" fmla="*/ 439908 w 623719"/>
              <a:gd name="connsiteY128" fmla="*/ 541680 h 595176"/>
              <a:gd name="connsiteX129" fmla="*/ 478927 w 623719"/>
              <a:gd name="connsiteY129" fmla="*/ 556921 h 595176"/>
              <a:gd name="connsiteX130" fmla="*/ 494168 w 623719"/>
              <a:gd name="connsiteY130" fmla="*/ 595177 h 595176"/>
              <a:gd name="connsiteX131" fmla="*/ 385954 w 623719"/>
              <a:gd name="connsiteY131" fmla="*/ 595177 h 595176"/>
              <a:gd name="connsiteX132" fmla="*/ 401195 w 623719"/>
              <a:gd name="connsiteY132" fmla="*/ 556616 h 595176"/>
              <a:gd name="connsiteX133" fmla="*/ 439908 w 623719"/>
              <a:gd name="connsiteY133" fmla="*/ 541680 h 595176"/>
              <a:gd name="connsiteX134" fmla="*/ 531357 w 623719"/>
              <a:gd name="connsiteY134" fmla="*/ 16461 h 595176"/>
              <a:gd name="connsiteX135" fmla="*/ 608090 w 623719"/>
              <a:gd name="connsiteY135" fmla="*/ 16979 h 595176"/>
              <a:gd name="connsiteX136" fmla="*/ 623720 w 623719"/>
              <a:gd name="connsiteY136" fmla="*/ 54717 h 595176"/>
              <a:gd name="connsiteX137" fmla="*/ 515506 w 623719"/>
              <a:gd name="connsiteY137" fmla="*/ 54717 h 595176"/>
              <a:gd name="connsiteX138" fmla="*/ 530595 w 623719"/>
              <a:gd name="connsiteY138" fmla="*/ 16461 h 595176"/>
              <a:gd name="connsiteX139" fmla="*/ 531357 w 623719"/>
              <a:gd name="connsiteY139" fmla="*/ 124675 h 595176"/>
              <a:gd name="connsiteX140" fmla="*/ 608065 w 623719"/>
              <a:gd name="connsiteY140" fmla="*/ 126671 h 595176"/>
              <a:gd name="connsiteX141" fmla="*/ 622958 w 623719"/>
              <a:gd name="connsiteY141" fmla="*/ 162931 h 595176"/>
              <a:gd name="connsiteX142" fmla="*/ 514744 w 623719"/>
              <a:gd name="connsiteY142" fmla="*/ 162931 h 595176"/>
              <a:gd name="connsiteX143" fmla="*/ 530595 w 623719"/>
              <a:gd name="connsiteY143" fmla="*/ 124675 h 595176"/>
              <a:gd name="connsiteX144" fmla="*/ 569613 w 623719"/>
              <a:gd name="connsiteY144" fmla="*/ 217038 h 595176"/>
              <a:gd name="connsiteX145" fmla="*/ 623720 w 623719"/>
              <a:gd name="connsiteY145" fmla="*/ 271145 h 595176"/>
              <a:gd name="connsiteX146" fmla="*/ 515506 w 623719"/>
              <a:gd name="connsiteY146" fmla="*/ 271145 h 595176"/>
              <a:gd name="connsiteX147" fmla="*/ 522669 w 623719"/>
              <a:gd name="connsiteY147" fmla="*/ 244015 h 595176"/>
              <a:gd name="connsiteX148" fmla="*/ 542483 w 623719"/>
              <a:gd name="connsiteY148" fmla="*/ 224201 h 595176"/>
              <a:gd name="connsiteX149" fmla="*/ 568851 w 623719"/>
              <a:gd name="connsiteY149" fmla="*/ 217038 h 595176"/>
              <a:gd name="connsiteX150" fmla="*/ 531357 w 623719"/>
              <a:gd name="connsiteY150" fmla="*/ 341103 h 595176"/>
              <a:gd name="connsiteX151" fmla="*/ 608090 w 623719"/>
              <a:gd name="connsiteY151" fmla="*/ 341621 h 595176"/>
              <a:gd name="connsiteX152" fmla="*/ 623720 w 623719"/>
              <a:gd name="connsiteY152" fmla="*/ 379359 h 595176"/>
              <a:gd name="connsiteX153" fmla="*/ 515506 w 623719"/>
              <a:gd name="connsiteY153" fmla="*/ 379359 h 595176"/>
              <a:gd name="connsiteX154" fmla="*/ 530595 w 623719"/>
              <a:gd name="connsiteY154" fmla="*/ 341103 h 595176"/>
              <a:gd name="connsiteX155" fmla="*/ 569613 w 623719"/>
              <a:gd name="connsiteY155" fmla="*/ 433465 h 595176"/>
              <a:gd name="connsiteX156" fmla="*/ 590189 w 623719"/>
              <a:gd name="connsiteY156" fmla="*/ 437428 h 595176"/>
              <a:gd name="connsiteX157" fmla="*/ 607716 w 623719"/>
              <a:gd name="connsiteY157" fmla="*/ 449317 h 595176"/>
              <a:gd name="connsiteX158" fmla="*/ 618843 w 623719"/>
              <a:gd name="connsiteY158" fmla="*/ 466082 h 595176"/>
              <a:gd name="connsiteX159" fmla="*/ 623720 w 623719"/>
              <a:gd name="connsiteY159" fmla="*/ 487572 h 595176"/>
              <a:gd name="connsiteX160" fmla="*/ 515506 w 623719"/>
              <a:gd name="connsiteY160" fmla="*/ 487572 h 595176"/>
              <a:gd name="connsiteX161" fmla="*/ 522669 w 623719"/>
              <a:gd name="connsiteY161" fmla="*/ 459681 h 595176"/>
              <a:gd name="connsiteX162" fmla="*/ 542483 w 623719"/>
              <a:gd name="connsiteY162" fmla="*/ 440629 h 595176"/>
              <a:gd name="connsiteX163" fmla="*/ 568851 w 623719"/>
              <a:gd name="connsiteY163" fmla="*/ 433465 h 595176"/>
              <a:gd name="connsiteX164" fmla="*/ 569613 w 623719"/>
              <a:gd name="connsiteY164" fmla="*/ 541680 h 595176"/>
              <a:gd name="connsiteX165" fmla="*/ 607716 w 623719"/>
              <a:gd name="connsiteY165" fmla="*/ 556921 h 595176"/>
              <a:gd name="connsiteX166" fmla="*/ 622958 w 623719"/>
              <a:gd name="connsiteY166" fmla="*/ 595177 h 595176"/>
              <a:gd name="connsiteX167" fmla="*/ 514744 w 623719"/>
              <a:gd name="connsiteY167" fmla="*/ 595177 h 595176"/>
              <a:gd name="connsiteX168" fmla="*/ 529985 w 623719"/>
              <a:gd name="connsiteY168" fmla="*/ 556616 h 595176"/>
              <a:gd name="connsiteX169" fmla="*/ 568851 w 623719"/>
              <a:gd name="connsiteY169" fmla="*/ 541680 h 59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23719" h="595176">
                <a:moveTo>
                  <a:pt x="16655" y="16461"/>
                </a:moveTo>
                <a:cubicBezTo>
                  <a:pt x="37871" y="-4588"/>
                  <a:pt x="72129" y="-4450"/>
                  <a:pt x="93173" y="16766"/>
                </a:cubicBezTo>
                <a:cubicBezTo>
                  <a:pt x="103186" y="26871"/>
                  <a:pt x="108824" y="40496"/>
                  <a:pt x="108865" y="54717"/>
                </a:cubicBezTo>
                <a:lnTo>
                  <a:pt x="651" y="54717"/>
                </a:lnTo>
                <a:cubicBezTo>
                  <a:pt x="447" y="40298"/>
                  <a:pt x="6243" y="26444"/>
                  <a:pt x="16655" y="16461"/>
                </a:cubicBezTo>
                <a:close/>
                <a:moveTo>
                  <a:pt x="16655" y="124675"/>
                </a:moveTo>
                <a:cubicBezTo>
                  <a:pt x="37871" y="103626"/>
                  <a:pt x="72129" y="103763"/>
                  <a:pt x="93173" y="124979"/>
                </a:cubicBezTo>
                <a:cubicBezTo>
                  <a:pt x="103186" y="135085"/>
                  <a:pt x="108824" y="148710"/>
                  <a:pt x="108865" y="162931"/>
                </a:cubicBezTo>
                <a:lnTo>
                  <a:pt x="651" y="162931"/>
                </a:lnTo>
                <a:cubicBezTo>
                  <a:pt x="447" y="148512"/>
                  <a:pt x="6243" y="134658"/>
                  <a:pt x="16655" y="124675"/>
                </a:cubicBezTo>
                <a:close/>
                <a:moveTo>
                  <a:pt x="16655" y="232889"/>
                </a:moveTo>
                <a:cubicBezTo>
                  <a:pt x="37871" y="211840"/>
                  <a:pt x="72129" y="211977"/>
                  <a:pt x="93173" y="233193"/>
                </a:cubicBezTo>
                <a:cubicBezTo>
                  <a:pt x="103186" y="243298"/>
                  <a:pt x="108824" y="256924"/>
                  <a:pt x="108865" y="271145"/>
                </a:cubicBezTo>
                <a:lnTo>
                  <a:pt x="651" y="271145"/>
                </a:lnTo>
                <a:cubicBezTo>
                  <a:pt x="447" y="256726"/>
                  <a:pt x="6243" y="242872"/>
                  <a:pt x="16655" y="232889"/>
                </a:cubicBezTo>
                <a:close/>
                <a:moveTo>
                  <a:pt x="16655" y="341103"/>
                </a:moveTo>
                <a:cubicBezTo>
                  <a:pt x="37871" y="320054"/>
                  <a:pt x="72129" y="320191"/>
                  <a:pt x="93173" y="341407"/>
                </a:cubicBezTo>
                <a:cubicBezTo>
                  <a:pt x="103186" y="351512"/>
                  <a:pt x="108824" y="365138"/>
                  <a:pt x="108865" y="379359"/>
                </a:cubicBezTo>
                <a:lnTo>
                  <a:pt x="651" y="379359"/>
                </a:lnTo>
                <a:cubicBezTo>
                  <a:pt x="447" y="364940"/>
                  <a:pt x="6243" y="351086"/>
                  <a:pt x="16655" y="341103"/>
                </a:cubicBezTo>
                <a:close/>
                <a:moveTo>
                  <a:pt x="54758" y="433465"/>
                </a:moveTo>
                <a:cubicBezTo>
                  <a:pt x="61875" y="433252"/>
                  <a:pt x="68953" y="434593"/>
                  <a:pt x="75487" y="437428"/>
                </a:cubicBezTo>
                <a:cubicBezTo>
                  <a:pt x="81955" y="440385"/>
                  <a:pt x="87879" y="444394"/>
                  <a:pt x="93014" y="449317"/>
                </a:cubicBezTo>
                <a:cubicBezTo>
                  <a:pt x="97666" y="454224"/>
                  <a:pt x="101431" y="459894"/>
                  <a:pt x="104140" y="466082"/>
                </a:cubicBezTo>
                <a:cubicBezTo>
                  <a:pt x="107288" y="472803"/>
                  <a:pt x="108900" y="480150"/>
                  <a:pt x="108865" y="487572"/>
                </a:cubicBezTo>
                <a:lnTo>
                  <a:pt x="651" y="487572"/>
                </a:lnTo>
                <a:cubicBezTo>
                  <a:pt x="817" y="457760"/>
                  <a:pt x="24945" y="433633"/>
                  <a:pt x="54758" y="433465"/>
                </a:cubicBezTo>
                <a:close/>
                <a:moveTo>
                  <a:pt x="54758" y="541680"/>
                </a:moveTo>
                <a:cubicBezTo>
                  <a:pt x="69018" y="541542"/>
                  <a:pt x="82760" y="547014"/>
                  <a:pt x="93014" y="556921"/>
                </a:cubicBezTo>
                <a:cubicBezTo>
                  <a:pt x="103272" y="566950"/>
                  <a:pt x="108809" y="580850"/>
                  <a:pt x="108256" y="595177"/>
                </a:cubicBezTo>
                <a:lnTo>
                  <a:pt x="42" y="595177"/>
                </a:lnTo>
                <a:cubicBezTo>
                  <a:pt x="-541" y="580743"/>
                  <a:pt x="4994" y="566751"/>
                  <a:pt x="15283" y="556616"/>
                </a:cubicBezTo>
                <a:cubicBezTo>
                  <a:pt x="25768" y="546328"/>
                  <a:pt x="40088" y="540902"/>
                  <a:pt x="54758" y="541680"/>
                </a:cubicBezTo>
                <a:close/>
                <a:moveTo>
                  <a:pt x="183701" y="610"/>
                </a:moveTo>
                <a:cubicBezTo>
                  <a:pt x="213514" y="777"/>
                  <a:pt x="237641" y="24904"/>
                  <a:pt x="237808" y="54717"/>
                </a:cubicBezTo>
                <a:lnTo>
                  <a:pt x="129594" y="54717"/>
                </a:lnTo>
                <a:cubicBezTo>
                  <a:pt x="129296" y="40435"/>
                  <a:pt x="134794" y="26627"/>
                  <a:pt x="144835" y="16461"/>
                </a:cubicBezTo>
                <a:cubicBezTo>
                  <a:pt x="154986" y="5944"/>
                  <a:pt x="169093" y="198"/>
                  <a:pt x="183701" y="610"/>
                </a:cubicBezTo>
                <a:close/>
                <a:moveTo>
                  <a:pt x="183701" y="108824"/>
                </a:moveTo>
                <a:cubicBezTo>
                  <a:pt x="213514" y="108991"/>
                  <a:pt x="237641" y="133119"/>
                  <a:pt x="237808" y="162931"/>
                </a:cubicBezTo>
                <a:lnTo>
                  <a:pt x="129594" y="162931"/>
                </a:lnTo>
                <a:cubicBezTo>
                  <a:pt x="129296" y="148649"/>
                  <a:pt x="134794" y="134841"/>
                  <a:pt x="144835" y="124675"/>
                </a:cubicBezTo>
                <a:cubicBezTo>
                  <a:pt x="154986" y="114158"/>
                  <a:pt x="169093" y="108412"/>
                  <a:pt x="183701" y="108824"/>
                </a:cubicBezTo>
                <a:close/>
                <a:moveTo>
                  <a:pt x="183701" y="217038"/>
                </a:moveTo>
                <a:cubicBezTo>
                  <a:pt x="213514" y="217205"/>
                  <a:pt x="237641" y="241332"/>
                  <a:pt x="237808" y="271145"/>
                </a:cubicBezTo>
                <a:lnTo>
                  <a:pt x="129594" y="271145"/>
                </a:lnTo>
                <a:cubicBezTo>
                  <a:pt x="129296" y="256863"/>
                  <a:pt x="134794" y="243055"/>
                  <a:pt x="144835" y="232889"/>
                </a:cubicBezTo>
                <a:cubicBezTo>
                  <a:pt x="154986" y="222372"/>
                  <a:pt x="169093" y="216626"/>
                  <a:pt x="183701" y="217038"/>
                </a:cubicBezTo>
                <a:close/>
                <a:moveTo>
                  <a:pt x="183701" y="325251"/>
                </a:moveTo>
                <a:cubicBezTo>
                  <a:pt x="213514" y="325419"/>
                  <a:pt x="237641" y="349546"/>
                  <a:pt x="237808" y="379359"/>
                </a:cubicBezTo>
                <a:lnTo>
                  <a:pt x="129594" y="379359"/>
                </a:lnTo>
                <a:cubicBezTo>
                  <a:pt x="129296" y="365077"/>
                  <a:pt x="134794" y="351269"/>
                  <a:pt x="144835" y="341103"/>
                </a:cubicBezTo>
                <a:cubicBezTo>
                  <a:pt x="154986" y="330586"/>
                  <a:pt x="169093" y="324840"/>
                  <a:pt x="183701" y="325251"/>
                </a:cubicBezTo>
                <a:close/>
                <a:moveTo>
                  <a:pt x="183701" y="433465"/>
                </a:moveTo>
                <a:cubicBezTo>
                  <a:pt x="190824" y="433145"/>
                  <a:pt x="197922" y="434502"/>
                  <a:pt x="204429" y="437428"/>
                </a:cubicBezTo>
                <a:cubicBezTo>
                  <a:pt x="210489" y="440598"/>
                  <a:pt x="216079" y="444607"/>
                  <a:pt x="221042" y="449317"/>
                </a:cubicBezTo>
                <a:cubicBezTo>
                  <a:pt x="226181" y="454011"/>
                  <a:pt x="230283" y="459711"/>
                  <a:pt x="233083" y="466082"/>
                </a:cubicBezTo>
                <a:cubicBezTo>
                  <a:pt x="236155" y="472834"/>
                  <a:pt x="237766" y="480150"/>
                  <a:pt x="237808" y="487572"/>
                </a:cubicBezTo>
                <a:lnTo>
                  <a:pt x="129594" y="487572"/>
                </a:lnTo>
                <a:cubicBezTo>
                  <a:pt x="129296" y="473291"/>
                  <a:pt x="134794" y="459483"/>
                  <a:pt x="144835" y="449317"/>
                </a:cubicBezTo>
                <a:cubicBezTo>
                  <a:pt x="154986" y="438800"/>
                  <a:pt x="169093" y="433054"/>
                  <a:pt x="183701" y="433465"/>
                </a:cubicBezTo>
                <a:close/>
                <a:moveTo>
                  <a:pt x="183701" y="541680"/>
                </a:moveTo>
                <a:cubicBezTo>
                  <a:pt x="197913" y="541542"/>
                  <a:pt x="211606" y="547014"/>
                  <a:pt x="221804" y="556921"/>
                </a:cubicBezTo>
                <a:cubicBezTo>
                  <a:pt x="232376" y="566782"/>
                  <a:pt x="238202" y="580728"/>
                  <a:pt x="237808" y="595177"/>
                </a:cubicBezTo>
                <a:lnTo>
                  <a:pt x="129594" y="595177"/>
                </a:lnTo>
                <a:cubicBezTo>
                  <a:pt x="128998" y="565883"/>
                  <a:pt x="152258" y="541664"/>
                  <a:pt x="181545" y="541070"/>
                </a:cubicBezTo>
                <a:cubicBezTo>
                  <a:pt x="182263" y="541054"/>
                  <a:pt x="182983" y="541054"/>
                  <a:pt x="183701" y="541070"/>
                </a:cubicBezTo>
                <a:close/>
                <a:moveTo>
                  <a:pt x="273625" y="16461"/>
                </a:moveTo>
                <a:cubicBezTo>
                  <a:pt x="295246" y="-4161"/>
                  <a:pt x="329495" y="-3353"/>
                  <a:pt x="350123" y="18259"/>
                </a:cubicBezTo>
                <a:cubicBezTo>
                  <a:pt x="359512" y="28105"/>
                  <a:pt x="364849" y="41121"/>
                  <a:pt x="365073" y="54717"/>
                </a:cubicBezTo>
                <a:lnTo>
                  <a:pt x="256859" y="54717"/>
                </a:lnTo>
                <a:cubicBezTo>
                  <a:pt x="256853" y="40176"/>
                  <a:pt x="262933" y="26307"/>
                  <a:pt x="273625" y="16461"/>
                </a:cubicBezTo>
                <a:close/>
                <a:moveTo>
                  <a:pt x="273625" y="124675"/>
                </a:moveTo>
                <a:cubicBezTo>
                  <a:pt x="295246" y="104053"/>
                  <a:pt x="329495" y="104861"/>
                  <a:pt x="350123" y="126473"/>
                </a:cubicBezTo>
                <a:cubicBezTo>
                  <a:pt x="359512" y="136319"/>
                  <a:pt x="364849" y="149335"/>
                  <a:pt x="365073" y="162931"/>
                </a:cubicBezTo>
                <a:lnTo>
                  <a:pt x="256859" y="162931"/>
                </a:lnTo>
                <a:cubicBezTo>
                  <a:pt x="256853" y="148390"/>
                  <a:pt x="262933" y="134521"/>
                  <a:pt x="273625" y="124675"/>
                </a:cubicBezTo>
                <a:close/>
                <a:moveTo>
                  <a:pt x="273625" y="232889"/>
                </a:moveTo>
                <a:cubicBezTo>
                  <a:pt x="295246" y="212267"/>
                  <a:pt x="329495" y="213075"/>
                  <a:pt x="350123" y="234687"/>
                </a:cubicBezTo>
                <a:cubicBezTo>
                  <a:pt x="359512" y="244533"/>
                  <a:pt x="364849" y="257549"/>
                  <a:pt x="365073" y="271145"/>
                </a:cubicBezTo>
                <a:lnTo>
                  <a:pt x="256859" y="271145"/>
                </a:lnTo>
                <a:cubicBezTo>
                  <a:pt x="256853" y="256604"/>
                  <a:pt x="262933" y="242734"/>
                  <a:pt x="273625" y="232889"/>
                </a:cubicBezTo>
                <a:close/>
                <a:moveTo>
                  <a:pt x="273625" y="341103"/>
                </a:moveTo>
                <a:cubicBezTo>
                  <a:pt x="295246" y="320481"/>
                  <a:pt x="329495" y="321289"/>
                  <a:pt x="350123" y="342901"/>
                </a:cubicBezTo>
                <a:cubicBezTo>
                  <a:pt x="359512" y="352747"/>
                  <a:pt x="364849" y="365763"/>
                  <a:pt x="365073" y="379359"/>
                </a:cubicBezTo>
                <a:lnTo>
                  <a:pt x="256859" y="379359"/>
                </a:lnTo>
                <a:cubicBezTo>
                  <a:pt x="256853" y="364818"/>
                  <a:pt x="262933" y="350949"/>
                  <a:pt x="273625" y="341103"/>
                </a:cubicBezTo>
                <a:close/>
                <a:moveTo>
                  <a:pt x="311728" y="433465"/>
                </a:moveTo>
                <a:cubicBezTo>
                  <a:pt x="318846" y="433222"/>
                  <a:pt x="325929" y="434578"/>
                  <a:pt x="332457" y="437428"/>
                </a:cubicBezTo>
                <a:cubicBezTo>
                  <a:pt x="338948" y="440339"/>
                  <a:pt x="344880" y="444363"/>
                  <a:pt x="349984" y="449317"/>
                </a:cubicBezTo>
                <a:cubicBezTo>
                  <a:pt x="354994" y="454087"/>
                  <a:pt x="359030" y="459772"/>
                  <a:pt x="361873" y="466082"/>
                </a:cubicBezTo>
                <a:cubicBezTo>
                  <a:pt x="364563" y="472925"/>
                  <a:pt x="365908" y="480226"/>
                  <a:pt x="365835" y="487572"/>
                </a:cubicBezTo>
                <a:lnTo>
                  <a:pt x="257621" y="487572"/>
                </a:lnTo>
                <a:cubicBezTo>
                  <a:pt x="257788" y="457760"/>
                  <a:pt x="281915" y="433633"/>
                  <a:pt x="311728" y="433465"/>
                </a:cubicBezTo>
                <a:close/>
                <a:moveTo>
                  <a:pt x="311728" y="541680"/>
                </a:moveTo>
                <a:cubicBezTo>
                  <a:pt x="325949" y="541740"/>
                  <a:pt x="339619" y="547182"/>
                  <a:pt x="349984" y="556921"/>
                </a:cubicBezTo>
                <a:cubicBezTo>
                  <a:pt x="360147" y="565990"/>
                  <a:pt x="365735" y="579128"/>
                  <a:pt x="365226" y="592738"/>
                </a:cubicBezTo>
                <a:lnTo>
                  <a:pt x="365226" y="595177"/>
                </a:lnTo>
                <a:lnTo>
                  <a:pt x="257012" y="595177"/>
                </a:lnTo>
                <a:cubicBezTo>
                  <a:pt x="256429" y="580743"/>
                  <a:pt x="261964" y="566751"/>
                  <a:pt x="272253" y="556616"/>
                </a:cubicBezTo>
                <a:cubicBezTo>
                  <a:pt x="282738" y="546328"/>
                  <a:pt x="297059" y="540902"/>
                  <a:pt x="311728" y="541680"/>
                </a:cubicBezTo>
                <a:close/>
                <a:moveTo>
                  <a:pt x="439908" y="610"/>
                </a:moveTo>
                <a:cubicBezTo>
                  <a:pt x="454479" y="-30"/>
                  <a:pt x="468645" y="5502"/>
                  <a:pt x="478927" y="15851"/>
                </a:cubicBezTo>
                <a:cubicBezTo>
                  <a:pt x="488893" y="26063"/>
                  <a:pt x="494378" y="39841"/>
                  <a:pt x="494168" y="54107"/>
                </a:cubicBezTo>
                <a:lnTo>
                  <a:pt x="385954" y="54107"/>
                </a:lnTo>
                <a:cubicBezTo>
                  <a:pt x="385954" y="24219"/>
                  <a:pt x="410179" y="0"/>
                  <a:pt x="440061" y="0"/>
                </a:cubicBezTo>
                <a:close/>
                <a:moveTo>
                  <a:pt x="439908" y="108824"/>
                </a:moveTo>
                <a:cubicBezTo>
                  <a:pt x="454479" y="108184"/>
                  <a:pt x="468645" y="113716"/>
                  <a:pt x="478927" y="124065"/>
                </a:cubicBezTo>
                <a:cubicBezTo>
                  <a:pt x="488893" y="134277"/>
                  <a:pt x="494378" y="148055"/>
                  <a:pt x="494168" y="162321"/>
                </a:cubicBezTo>
                <a:lnTo>
                  <a:pt x="385954" y="162321"/>
                </a:lnTo>
                <a:cubicBezTo>
                  <a:pt x="385954" y="132432"/>
                  <a:pt x="410179" y="108214"/>
                  <a:pt x="440061" y="108214"/>
                </a:cubicBezTo>
                <a:close/>
                <a:moveTo>
                  <a:pt x="439908" y="217038"/>
                </a:moveTo>
                <a:cubicBezTo>
                  <a:pt x="454479" y="216397"/>
                  <a:pt x="468645" y="221930"/>
                  <a:pt x="478927" y="232279"/>
                </a:cubicBezTo>
                <a:cubicBezTo>
                  <a:pt x="488893" y="242491"/>
                  <a:pt x="494378" y="256269"/>
                  <a:pt x="494168" y="270535"/>
                </a:cubicBezTo>
                <a:lnTo>
                  <a:pt x="385954" y="270535"/>
                </a:lnTo>
                <a:cubicBezTo>
                  <a:pt x="385954" y="240646"/>
                  <a:pt x="410179" y="216428"/>
                  <a:pt x="440061" y="216428"/>
                </a:cubicBezTo>
                <a:close/>
                <a:moveTo>
                  <a:pt x="439908" y="325251"/>
                </a:moveTo>
                <a:cubicBezTo>
                  <a:pt x="454479" y="324611"/>
                  <a:pt x="468645" y="330144"/>
                  <a:pt x="478927" y="340493"/>
                </a:cubicBezTo>
                <a:cubicBezTo>
                  <a:pt x="488893" y="350705"/>
                  <a:pt x="494378" y="364483"/>
                  <a:pt x="494168" y="378749"/>
                </a:cubicBezTo>
                <a:lnTo>
                  <a:pt x="385954" y="378749"/>
                </a:lnTo>
                <a:cubicBezTo>
                  <a:pt x="385954" y="348861"/>
                  <a:pt x="410179" y="324642"/>
                  <a:pt x="440061" y="324642"/>
                </a:cubicBezTo>
                <a:close/>
                <a:moveTo>
                  <a:pt x="439908" y="433465"/>
                </a:moveTo>
                <a:cubicBezTo>
                  <a:pt x="447220" y="433069"/>
                  <a:pt x="454523" y="434380"/>
                  <a:pt x="461246" y="437276"/>
                </a:cubicBezTo>
                <a:cubicBezTo>
                  <a:pt x="467357" y="440446"/>
                  <a:pt x="472998" y="444455"/>
                  <a:pt x="478012" y="449164"/>
                </a:cubicBezTo>
                <a:cubicBezTo>
                  <a:pt x="483251" y="453736"/>
                  <a:pt x="487326" y="459483"/>
                  <a:pt x="489900" y="465930"/>
                </a:cubicBezTo>
                <a:cubicBezTo>
                  <a:pt x="492505" y="472803"/>
                  <a:pt x="493848" y="480074"/>
                  <a:pt x="493863" y="487420"/>
                </a:cubicBezTo>
                <a:lnTo>
                  <a:pt x="385649" y="487420"/>
                </a:lnTo>
                <a:cubicBezTo>
                  <a:pt x="385649" y="457532"/>
                  <a:pt x="409874" y="433313"/>
                  <a:pt x="439756" y="433313"/>
                </a:cubicBezTo>
                <a:close/>
                <a:moveTo>
                  <a:pt x="439908" y="541680"/>
                </a:moveTo>
                <a:cubicBezTo>
                  <a:pt x="454446" y="541253"/>
                  <a:pt x="468533" y="546755"/>
                  <a:pt x="478927" y="556921"/>
                </a:cubicBezTo>
                <a:cubicBezTo>
                  <a:pt x="489057" y="567026"/>
                  <a:pt x="494572" y="580865"/>
                  <a:pt x="494168" y="595177"/>
                </a:cubicBezTo>
                <a:lnTo>
                  <a:pt x="385954" y="595177"/>
                </a:lnTo>
                <a:cubicBezTo>
                  <a:pt x="385428" y="580758"/>
                  <a:pt x="390955" y="566782"/>
                  <a:pt x="401195" y="556616"/>
                </a:cubicBezTo>
                <a:cubicBezTo>
                  <a:pt x="411526" y="546572"/>
                  <a:pt x="425508" y="541176"/>
                  <a:pt x="439908" y="541680"/>
                </a:cubicBezTo>
                <a:close/>
                <a:moveTo>
                  <a:pt x="531357" y="16461"/>
                </a:moveTo>
                <a:cubicBezTo>
                  <a:pt x="552690" y="-4588"/>
                  <a:pt x="587044" y="-4344"/>
                  <a:pt x="608090" y="16979"/>
                </a:cubicBezTo>
                <a:cubicBezTo>
                  <a:pt x="618015" y="27038"/>
                  <a:pt x="623622" y="40588"/>
                  <a:pt x="623720" y="54717"/>
                </a:cubicBezTo>
                <a:lnTo>
                  <a:pt x="515506" y="54717"/>
                </a:lnTo>
                <a:cubicBezTo>
                  <a:pt x="515062" y="40435"/>
                  <a:pt x="520519" y="26596"/>
                  <a:pt x="530595" y="16461"/>
                </a:cubicBezTo>
                <a:close/>
                <a:moveTo>
                  <a:pt x="531357" y="124675"/>
                </a:moveTo>
                <a:cubicBezTo>
                  <a:pt x="553093" y="104053"/>
                  <a:pt x="587436" y="104937"/>
                  <a:pt x="608065" y="126671"/>
                </a:cubicBezTo>
                <a:cubicBezTo>
                  <a:pt x="617373" y="136487"/>
                  <a:pt x="622683" y="149412"/>
                  <a:pt x="622958" y="162931"/>
                </a:cubicBezTo>
                <a:lnTo>
                  <a:pt x="514744" y="162931"/>
                </a:lnTo>
                <a:cubicBezTo>
                  <a:pt x="514500" y="148527"/>
                  <a:pt x="520240" y="134673"/>
                  <a:pt x="530595" y="124675"/>
                </a:cubicBezTo>
                <a:close/>
                <a:moveTo>
                  <a:pt x="569613" y="217038"/>
                </a:moveTo>
                <a:cubicBezTo>
                  <a:pt x="599427" y="217205"/>
                  <a:pt x="623554" y="241332"/>
                  <a:pt x="623720" y="271145"/>
                </a:cubicBezTo>
                <a:lnTo>
                  <a:pt x="515506" y="271145"/>
                </a:lnTo>
                <a:cubicBezTo>
                  <a:pt x="515321" y="261603"/>
                  <a:pt x="517803" y="252215"/>
                  <a:pt x="522669" y="244015"/>
                </a:cubicBezTo>
                <a:cubicBezTo>
                  <a:pt x="527277" y="235678"/>
                  <a:pt x="534145" y="228804"/>
                  <a:pt x="542483" y="224201"/>
                </a:cubicBezTo>
                <a:cubicBezTo>
                  <a:pt x="550532" y="219644"/>
                  <a:pt x="559599" y="217175"/>
                  <a:pt x="568851" y="217038"/>
                </a:cubicBezTo>
                <a:close/>
                <a:moveTo>
                  <a:pt x="531357" y="341103"/>
                </a:moveTo>
                <a:cubicBezTo>
                  <a:pt x="552690" y="320054"/>
                  <a:pt x="587044" y="320298"/>
                  <a:pt x="608090" y="341621"/>
                </a:cubicBezTo>
                <a:cubicBezTo>
                  <a:pt x="618015" y="351680"/>
                  <a:pt x="623622" y="365230"/>
                  <a:pt x="623720" y="379359"/>
                </a:cubicBezTo>
                <a:lnTo>
                  <a:pt x="515506" y="379359"/>
                </a:lnTo>
                <a:cubicBezTo>
                  <a:pt x="515062" y="365077"/>
                  <a:pt x="520519" y="351238"/>
                  <a:pt x="530595" y="341103"/>
                </a:cubicBezTo>
                <a:close/>
                <a:moveTo>
                  <a:pt x="569613" y="433465"/>
                </a:moveTo>
                <a:cubicBezTo>
                  <a:pt x="576680" y="433252"/>
                  <a:pt x="583708" y="434593"/>
                  <a:pt x="590189" y="437428"/>
                </a:cubicBezTo>
                <a:cubicBezTo>
                  <a:pt x="596698" y="440309"/>
                  <a:pt x="602636" y="444333"/>
                  <a:pt x="607716" y="449317"/>
                </a:cubicBezTo>
                <a:cubicBezTo>
                  <a:pt x="612368" y="454224"/>
                  <a:pt x="616133" y="459894"/>
                  <a:pt x="618843" y="466082"/>
                </a:cubicBezTo>
                <a:cubicBezTo>
                  <a:pt x="622037" y="472803"/>
                  <a:pt x="623703" y="480135"/>
                  <a:pt x="623720" y="487572"/>
                </a:cubicBezTo>
                <a:lnTo>
                  <a:pt x="515506" y="487572"/>
                </a:lnTo>
                <a:cubicBezTo>
                  <a:pt x="515382" y="477803"/>
                  <a:pt x="517855" y="468186"/>
                  <a:pt x="522669" y="459681"/>
                </a:cubicBezTo>
                <a:cubicBezTo>
                  <a:pt x="527438" y="451664"/>
                  <a:pt x="534283" y="445079"/>
                  <a:pt x="542483" y="440629"/>
                </a:cubicBezTo>
                <a:cubicBezTo>
                  <a:pt x="550505" y="435995"/>
                  <a:pt x="559590" y="433526"/>
                  <a:pt x="568851" y="433465"/>
                </a:cubicBezTo>
                <a:close/>
                <a:moveTo>
                  <a:pt x="569613" y="541680"/>
                </a:moveTo>
                <a:cubicBezTo>
                  <a:pt x="583825" y="541542"/>
                  <a:pt x="597518" y="547014"/>
                  <a:pt x="607716" y="556921"/>
                </a:cubicBezTo>
                <a:cubicBezTo>
                  <a:pt x="618007" y="566919"/>
                  <a:pt x="623551" y="580835"/>
                  <a:pt x="622958" y="595177"/>
                </a:cubicBezTo>
                <a:lnTo>
                  <a:pt x="514744" y="595177"/>
                </a:lnTo>
                <a:cubicBezTo>
                  <a:pt x="514162" y="580743"/>
                  <a:pt x="519696" y="566751"/>
                  <a:pt x="529985" y="556616"/>
                </a:cubicBezTo>
                <a:cubicBezTo>
                  <a:pt x="540354" y="546526"/>
                  <a:pt x="554399" y="541131"/>
                  <a:pt x="568851" y="541680"/>
                </a:cubicBezTo>
                <a:close/>
              </a:path>
            </a:pathLst>
          </a:custGeom>
          <a:solidFill>
            <a:schemeClr val="accent5"/>
          </a:solidFill>
          <a:ln w="15240" cap="flat">
            <a:noFill/>
            <a:prstDash val="solid"/>
            <a:miter/>
          </a:ln>
        </p:spPr>
        <p:txBody>
          <a:bodyPr rtlCol="0" anchor="ctr"/>
          <a:lstStyle/>
          <a:p>
            <a:endParaRPr lang="nl-NL"/>
          </a:p>
        </p:txBody>
      </p:sp>
      <p:sp>
        <p:nvSpPr>
          <p:cNvPr id="6" name="Vrije vorm: vorm 5">
            <a:extLst>
              <a:ext uri="{FF2B5EF4-FFF2-40B4-BE49-F238E27FC236}">
                <a16:creationId xmlns:a16="http://schemas.microsoft.com/office/drawing/2014/main" id="{E7C3259E-B040-4D15-85F1-D31BB5C94F16}"/>
              </a:ext>
            </a:extLst>
          </p:cNvPr>
          <p:cNvSpPr/>
          <p:nvPr userDrawn="1"/>
        </p:nvSpPr>
        <p:spPr>
          <a:xfrm>
            <a:off x="1358836" y="5897573"/>
            <a:ext cx="621087" cy="592127"/>
          </a:xfrm>
          <a:custGeom>
            <a:avLst/>
            <a:gdLst>
              <a:gd name="connsiteX0" fmla="*/ 571400 w 621087"/>
              <a:gd name="connsiteY0" fmla="*/ 0 h 620629"/>
              <a:gd name="connsiteX1" fmla="*/ 621087 w 621087"/>
              <a:gd name="connsiteY1" fmla="*/ 0 h 620629"/>
              <a:gd name="connsiteX2" fmla="*/ 621087 w 621087"/>
              <a:gd name="connsiteY2" fmla="*/ 26977 h 620629"/>
              <a:gd name="connsiteX3" fmla="*/ 26672 w 621087"/>
              <a:gd name="connsiteY3" fmla="*/ 620630 h 620629"/>
              <a:gd name="connsiteX4" fmla="*/ 152 w 621087"/>
              <a:gd name="connsiteY4" fmla="*/ 620630 h 620629"/>
              <a:gd name="connsiteX5" fmla="*/ 152 w 621087"/>
              <a:gd name="connsiteY5" fmla="*/ 571247 h 620629"/>
              <a:gd name="connsiteX6" fmla="*/ 152 w 621087"/>
              <a:gd name="connsiteY6" fmla="*/ 427978 h 620629"/>
              <a:gd name="connsiteX7" fmla="*/ 428283 w 621087"/>
              <a:gd name="connsiteY7" fmla="*/ 0 h 620629"/>
              <a:gd name="connsiteX8" fmla="*/ 504490 w 621087"/>
              <a:gd name="connsiteY8" fmla="*/ 0 h 620629"/>
              <a:gd name="connsiteX9" fmla="*/ 0 w 621087"/>
              <a:gd name="connsiteY9" fmla="*/ 504490 h 620629"/>
              <a:gd name="connsiteX10" fmla="*/ 152 w 621087"/>
              <a:gd name="connsiteY10" fmla="*/ 284862 h 620629"/>
              <a:gd name="connsiteX11" fmla="*/ 285776 w 621087"/>
              <a:gd name="connsiteY11" fmla="*/ 0 h 620629"/>
              <a:gd name="connsiteX12" fmla="*/ 361983 w 621087"/>
              <a:gd name="connsiteY12" fmla="*/ 0 h 620629"/>
              <a:gd name="connsiteX13" fmla="*/ 762 w 621087"/>
              <a:gd name="connsiteY13" fmla="*/ 361221 h 620629"/>
              <a:gd name="connsiteX14" fmla="*/ 152 w 621087"/>
              <a:gd name="connsiteY14" fmla="*/ 142355 h 620629"/>
              <a:gd name="connsiteX15" fmla="*/ 142660 w 621087"/>
              <a:gd name="connsiteY15" fmla="*/ 0 h 620629"/>
              <a:gd name="connsiteX16" fmla="*/ 218867 w 621087"/>
              <a:gd name="connsiteY16" fmla="*/ 0 h 620629"/>
              <a:gd name="connsiteX17" fmla="*/ 152 w 621087"/>
              <a:gd name="connsiteY17" fmla="*/ 218867 h 620629"/>
              <a:gd name="connsiteX18" fmla="*/ 152 w 621087"/>
              <a:gd name="connsiteY18" fmla="*/ 0 h 620629"/>
              <a:gd name="connsiteX19" fmla="*/ 76359 w 621087"/>
              <a:gd name="connsiteY19" fmla="*/ 0 h 620629"/>
              <a:gd name="connsiteX20" fmla="*/ 152 w 621087"/>
              <a:gd name="connsiteY20" fmla="*/ 76207 h 620629"/>
              <a:gd name="connsiteX21" fmla="*/ 94039 w 621087"/>
              <a:gd name="connsiteY21" fmla="*/ 620630 h 620629"/>
              <a:gd name="connsiteX22" fmla="*/ 621087 w 621087"/>
              <a:gd name="connsiteY22" fmla="*/ 93887 h 620629"/>
              <a:gd name="connsiteX23" fmla="*/ 621087 w 621087"/>
              <a:gd name="connsiteY23" fmla="*/ 170094 h 620629"/>
              <a:gd name="connsiteX24" fmla="*/ 170704 w 621087"/>
              <a:gd name="connsiteY24" fmla="*/ 620477 h 620629"/>
              <a:gd name="connsiteX25" fmla="*/ 236546 w 621087"/>
              <a:gd name="connsiteY25" fmla="*/ 620630 h 620629"/>
              <a:gd name="connsiteX26" fmla="*/ 621087 w 621087"/>
              <a:gd name="connsiteY26" fmla="*/ 236242 h 620629"/>
              <a:gd name="connsiteX27" fmla="*/ 621087 w 621087"/>
              <a:gd name="connsiteY27" fmla="*/ 312449 h 620629"/>
              <a:gd name="connsiteX28" fmla="*/ 313973 w 621087"/>
              <a:gd name="connsiteY28" fmla="*/ 620325 h 620629"/>
              <a:gd name="connsiteX29" fmla="*/ 379663 w 621087"/>
              <a:gd name="connsiteY29" fmla="*/ 620630 h 620629"/>
              <a:gd name="connsiteX30" fmla="*/ 621087 w 621087"/>
              <a:gd name="connsiteY30" fmla="*/ 379511 h 620629"/>
              <a:gd name="connsiteX31" fmla="*/ 621087 w 621087"/>
              <a:gd name="connsiteY31" fmla="*/ 455718 h 620629"/>
              <a:gd name="connsiteX32" fmla="*/ 456328 w 621087"/>
              <a:gd name="connsiteY32" fmla="*/ 620477 h 620629"/>
              <a:gd name="connsiteX33" fmla="*/ 595329 w 621087"/>
              <a:gd name="connsiteY33" fmla="*/ 620630 h 620629"/>
              <a:gd name="connsiteX34" fmla="*/ 519122 w 621087"/>
              <a:gd name="connsiteY34" fmla="*/ 620630 h 620629"/>
              <a:gd name="connsiteX35" fmla="*/ 620935 w 621087"/>
              <a:gd name="connsiteY35" fmla="*/ 518817 h 620629"/>
              <a:gd name="connsiteX36" fmla="*/ 620935 w 621087"/>
              <a:gd name="connsiteY36" fmla="*/ 595024 h 62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1087" h="620629">
                <a:moveTo>
                  <a:pt x="571400" y="0"/>
                </a:moveTo>
                <a:lnTo>
                  <a:pt x="621087" y="0"/>
                </a:lnTo>
                <a:lnTo>
                  <a:pt x="621087" y="26977"/>
                </a:lnTo>
                <a:lnTo>
                  <a:pt x="26672" y="620630"/>
                </a:lnTo>
                <a:lnTo>
                  <a:pt x="152" y="620630"/>
                </a:lnTo>
                <a:lnTo>
                  <a:pt x="152" y="571247"/>
                </a:lnTo>
                <a:close/>
                <a:moveTo>
                  <a:pt x="152" y="427978"/>
                </a:moveTo>
                <a:lnTo>
                  <a:pt x="428283" y="0"/>
                </a:lnTo>
                <a:lnTo>
                  <a:pt x="504490" y="0"/>
                </a:lnTo>
                <a:lnTo>
                  <a:pt x="0" y="504490"/>
                </a:lnTo>
                <a:close/>
                <a:moveTo>
                  <a:pt x="152" y="284862"/>
                </a:moveTo>
                <a:lnTo>
                  <a:pt x="285776" y="0"/>
                </a:lnTo>
                <a:lnTo>
                  <a:pt x="361983" y="0"/>
                </a:lnTo>
                <a:lnTo>
                  <a:pt x="762" y="361221"/>
                </a:lnTo>
                <a:close/>
                <a:moveTo>
                  <a:pt x="152" y="142355"/>
                </a:moveTo>
                <a:lnTo>
                  <a:pt x="142660" y="0"/>
                </a:lnTo>
                <a:lnTo>
                  <a:pt x="218867" y="0"/>
                </a:lnTo>
                <a:lnTo>
                  <a:pt x="152" y="218867"/>
                </a:lnTo>
                <a:close/>
                <a:moveTo>
                  <a:pt x="152" y="0"/>
                </a:moveTo>
                <a:lnTo>
                  <a:pt x="76359" y="0"/>
                </a:lnTo>
                <a:lnTo>
                  <a:pt x="152" y="76207"/>
                </a:lnTo>
                <a:close/>
                <a:moveTo>
                  <a:pt x="94039" y="620630"/>
                </a:moveTo>
                <a:lnTo>
                  <a:pt x="621087" y="93887"/>
                </a:lnTo>
                <a:lnTo>
                  <a:pt x="621087" y="170094"/>
                </a:lnTo>
                <a:lnTo>
                  <a:pt x="170704" y="620477"/>
                </a:lnTo>
                <a:close/>
                <a:moveTo>
                  <a:pt x="236546" y="620630"/>
                </a:moveTo>
                <a:lnTo>
                  <a:pt x="621087" y="236242"/>
                </a:lnTo>
                <a:lnTo>
                  <a:pt x="621087" y="312449"/>
                </a:lnTo>
                <a:lnTo>
                  <a:pt x="313973" y="620325"/>
                </a:lnTo>
                <a:close/>
                <a:moveTo>
                  <a:pt x="379663" y="620630"/>
                </a:moveTo>
                <a:lnTo>
                  <a:pt x="621087" y="379511"/>
                </a:lnTo>
                <a:lnTo>
                  <a:pt x="621087" y="455718"/>
                </a:lnTo>
                <a:lnTo>
                  <a:pt x="456328" y="620477"/>
                </a:lnTo>
                <a:close/>
                <a:moveTo>
                  <a:pt x="595329" y="620630"/>
                </a:moveTo>
                <a:lnTo>
                  <a:pt x="519122" y="620630"/>
                </a:lnTo>
                <a:lnTo>
                  <a:pt x="620935" y="518817"/>
                </a:lnTo>
                <a:lnTo>
                  <a:pt x="620935" y="595024"/>
                </a:lnTo>
                <a:close/>
              </a:path>
            </a:pathLst>
          </a:custGeom>
          <a:solidFill>
            <a:srgbClr val="76D2B6"/>
          </a:solidFill>
          <a:ln w="15240" cap="flat">
            <a:noFill/>
            <a:prstDash val="solid"/>
            <a:miter/>
          </a:ln>
        </p:spPr>
        <p:txBody>
          <a:bodyPr rtlCol="0" anchor="ctr"/>
          <a:lstStyle/>
          <a:p>
            <a:endParaRPr lang="nl-NL"/>
          </a:p>
        </p:txBody>
      </p:sp>
      <p:sp>
        <p:nvSpPr>
          <p:cNvPr id="7" name="Vrije vorm: vorm 6">
            <a:extLst>
              <a:ext uri="{FF2B5EF4-FFF2-40B4-BE49-F238E27FC236}">
                <a16:creationId xmlns:a16="http://schemas.microsoft.com/office/drawing/2014/main" id="{BC08AE7A-4F28-4E3C-A7E9-529DD2ECE399}"/>
              </a:ext>
            </a:extLst>
          </p:cNvPr>
          <p:cNvSpPr/>
          <p:nvPr userDrawn="1"/>
        </p:nvSpPr>
        <p:spPr>
          <a:xfrm>
            <a:off x="2033725" y="5897573"/>
            <a:ext cx="622306" cy="595176"/>
          </a:xfrm>
          <a:custGeom>
            <a:avLst/>
            <a:gdLst>
              <a:gd name="connsiteX0" fmla="*/ 0 w 622306"/>
              <a:gd name="connsiteY0" fmla="*/ 54107 h 595176"/>
              <a:gd name="connsiteX1" fmla="*/ 0 w 622306"/>
              <a:gd name="connsiteY1" fmla="*/ 0 h 595176"/>
              <a:gd name="connsiteX2" fmla="*/ 622306 w 622306"/>
              <a:gd name="connsiteY2" fmla="*/ 0 h 595176"/>
              <a:gd name="connsiteX3" fmla="*/ 622306 w 622306"/>
              <a:gd name="connsiteY3" fmla="*/ 54107 h 595176"/>
              <a:gd name="connsiteX4" fmla="*/ 0 w 622306"/>
              <a:gd name="connsiteY4" fmla="*/ 162321 h 595176"/>
              <a:gd name="connsiteX5" fmla="*/ 0 w 622306"/>
              <a:gd name="connsiteY5" fmla="*/ 108214 h 595176"/>
              <a:gd name="connsiteX6" fmla="*/ 622306 w 622306"/>
              <a:gd name="connsiteY6" fmla="*/ 108214 h 595176"/>
              <a:gd name="connsiteX7" fmla="*/ 622306 w 622306"/>
              <a:gd name="connsiteY7" fmla="*/ 162321 h 595176"/>
              <a:gd name="connsiteX8" fmla="*/ 0 w 622306"/>
              <a:gd name="connsiteY8" fmla="*/ 270535 h 595176"/>
              <a:gd name="connsiteX9" fmla="*/ 0 w 622306"/>
              <a:gd name="connsiteY9" fmla="*/ 216428 h 595176"/>
              <a:gd name="connsiteX10" fmla="*/ 622306 w 622306"/>
              <a:gd name="connsiteY10" fmla="*/ 216428 h 595176"/>
              <a:gd name="connsiteX11" fmla="*/ 622306 w 622306"/>
              <a:gd name="connsiteY11" fmla="*/ 270535 h 595176"/>
              <a:gd name="connsiteX12" fmla="*/ 0 w 622306"/>
              <a:gd name="connsiteY12" fmla="*/ 378749 h 595176"/>
              <a:gd name="connsiteX13" fmla="*/ 0 w 622306"/>
              <a:gd name="connsiteY13" fmla="*/ 324642 h 595176"/>
              <a:gd name="connsiteX14" fmla="*/ 622306 w 622306"/>
              <a:gd name="connsiteY14" fmla="*/ 324642 h 595176"/>
              <a:gd name="connsiteX15" fmla="*/ 622306 w 622306"/>
              <a:gd name="connsiteY15" fmla="*/ 378749 h 595176"/>
              <a:gd name="connsiteX16" fmla="*/ 0 w 622306"/>
              <a:gd name="connsiteY16" fmla="*/ 486962 h 595176"/>
              <a:gd name="connsiteX17" fmla="*/ 0 w 622306"/>
              <a:gd name="connsiteY17" fmla="*/ 432856 h 595176"/>
              <a:gd name="connsiteX18" fmla="*/ 622306 w 622306"/>
              <a:gd name="connsiteY18" fmla="*/ 432856 h 595176"/>
              <a:gd name="connsiteX19" fmla="*/ 622306 w 622306"/>
              <a:gd name="connsiteY19" fmla="*/ 486962 h 595176"/>
              <a:gd name="connsiteX20" fmla="*/ 0 w 622306"/>
              <a:gd name="connsiteY20" fmla="*/ 595177 h 595176"/>
              <a:gd name="connsiteX21" fmla="*/ 0 w 622306"/>
              <a:gd name="connsiteY21" fmla="*/ 541070 h 595176"/>
              <a:gd name="connsiteX22" fmla="*/ 622306 w 622306"/>
              <a:gd name="connsiteY22" fmla="*/ 541070 h 595176"/>
              <a:gd name="connsiteX23" fmla="*/ 622306 w 622306"/>
              <a:gd name="connsiteY23" fmla="*/ 595177 h 59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306" h="595176">
                <a:moveTo>
                  <a:pt x="0" y="54107"/>
                </a:moveTo>
                <a:lnTo>
                  <a:pt x="0" y="0"/>
                </a:lnTo>
                <a:lnTo>
                  <a:pt x="622306" y="0"/>
                </a:lnTo>
                <a:lnTo>
                  <a:pt x="622306" y="54107"/>
                </a:lnTo>
                <a:close/>
                <a:moveTo>
                  <a:pt x="0" y="162321"/>
                </a:moveTo>
                <a:lnTo>
                  <a:pt x="0" y="108214"/>
                </a:lnTo>
                <a:lnTo>
                  <a:pt x="622306" y="108214"/>
                </a:lnTo>
                <a:lnTo>
                  <a:pt x="622306" y="162321"/>
                </a:lnTo>
                <a:close/>
                <a:moveTo>
                  <a:pt x="0" y="270535"/>
                </a:moveTo>
                <a:lnTo>
                  <a:pt x="0" y="216428"/>
                </a:lnTo>
                <a:lnTo>
                  <a:pt x="622306" y="216428"/>
                </a:lnTo>
                <a:lnTo>
                  <a:pt x="622306" y="270535"/>
                </a:lnTo>
                <a:close/>
                <a:moveTo>
                  <a:pt x="0" y="378749"/>
                </a:moveTo>
                <a:lnTo>
                  <a:pt x="0" y="324642"/>
                </a:lnTo>
                <a:lnTo>
                  <a:pt x="622306" y="324642"/>
                </a:lnTo>
                <a:lnTo>
                  <a:pt x="622306" y="378749"/>
                </a:lnTo>
                <a:close/>
                <a:moveTo>
                  <a:pt x="0" y="486962"/>
                </a:moveTo>
                <a:lnTo>
                  <a:pt x="0" y="432856"/>
                </a:lnTo>
                <a:lnTo>
                  <a:pt x="622306" y="432856"/>
                </a:lnTo>
                <a:lnTo>
                  <a:pt x="622306" y="486962"/>
                </a:lnTo>
                <a:close/>
                <a:moveTo>
                  <a:pt x="0" y="595177"/>
                </a:moveTo>
                <a:lnTo>
                  <a:pt x="0" y="541070"/>
                </a:lnTo>
                <a:lnTo>
                  <a:pt x="622306" y="541070"/>
                </a:lnTo>
                <a:lnTo>
                  <a:pt x="622306" y="595177"/>
                </a:lnTo>
                <a:close/>
              </a:path>
            </a:pathLst>
          </a:custGeom>
          <a:solidFill>
            <a:srgbClr val="8FCAE7"/>
          </a:solidFill>
          <a:ln w="15240" cap="flat">
            <a:noFill/>
            <a:prstDash val="solid"/>
            <a:miter/>
          </a:ln>
        </p:spPr>
        <p:txBody>
          <a:bodyPr rtlCol="0" anchor="ctr"/>
          <a:lstStyle/>
          <a:p>
            <a:endParaRPr lang="nl-NL"/>
          </a:p>
        </p:txBody>
      </p:sp>
      <p:sp>
        <p:nvSpPr>
          <p:cNvPr id="8" name="Vrije vorm: vorm 7">
            <a:extLst>
              <a:ext uri="{FF2B5EF4-FFF2-40B4-BE49-F238E27FC236}">
                <a16:creationId xmlns:a16="http://schemas.microsoft.com/office/drawing/2014/main" id="{95BDCE7D-BD70-4720-8756-09A4634F33AC}"/>
              </a:ext>
            </a:extLst>
          </p:cNvPr>
          <p:cNvSpPr/>
          <p:nvPr userDrawn="1"/>
        </p:nvSpPr>
        <p:spPr>
          <a:xfrm>
            <a:off x="2710139" y="5897420"/>
            <a:ext cx="622153" cy="596091"/>
          </a:xfrm>
          <a:custGeom>
            <a:avLst/>
            <a:gdLst>
              <a:gd name="connsiteX0" fmla="*/ 622154 w 622153"/>
              <a:gd name="connsiteY0" fmla="*/ 48620 h 596091"/>
              <a:gd name="connsiteX1" fmla="*/ 554482 w 622153"/>
              <a:gd name="connsiteY1" fmla="*/ 260323 h 596091"/>
              <a:gd name="connsiteX2" fmla="*/ 421577 w 622153"/>
              <a:gd name="connsiteY2" fmla="*/ 433008 h 596091"/>
              <a:gd name="connsiteX3" fmla="*/ 16613 w 622153"/>
              <a:gd name="connsiteY3" fmla="*/ 595329 h 596091"/>
              <a:gd name="connsiteX4" fmla="*/ 0 w 622153"/>
              <a:gd name="connsiteY4" fmla="*/ 595329 h 596091"/>
              <a:gd name="connsiteX5" fmla="*/ 0 w 622153"/>
              <a:gd name="connsiteY5" fmla="*/ 541222 h 596091"/>
              <a:gd name="connsiteX6" fmla="*/ 215513 w 622153"/>
              <a:gd name="connsiteY6" fmla="*/ 499003 h 596091"/>
              <a:gd name="connsiteX7" fmla="*/ 394600 w 622153"/>
              <a:gd name="connsiteY7" fmla="*/ 383626 h 596091"/>
              <a:gd name="connsiteX8" fmla="*/ 518665 w 622153"/>
              <a:gd name="connsiteY8" fmla="*/ 211856 h 596091"/>
              <a:gd name="connsiteX9" fmla="*/ 572010 w 622153"/>
              <a:gd name="connsiteY9" fmla="*/ 153 h 596091"/>
              <a:gd name="connsiteX10" fmla="*/ 622154 w 622153"/>
              <a:gd name="connsiteY10" fmla="*/ 153 h 596091"/>
              <a:gd name="connsiteX11" fmla="*/ 517903 w 622153"/>
              <a:gd name="connsiteY11" fmla="*/ 153 h 596091"/>
              <a:gd name="connsiteX12" fmla="*/ 356344 w 622153"/>
              <a:gd name="connsiteY12" fmla="*/ 346285 h 596091"/>
              <a:gd name="connsiteX13" fmla="*/ 194937 w 622153"/>
              <a:gd name="connsiteY13" fmla="*/ 448859 h 596091"/>
              <a:gd name="connsiteX14" fmla="*/ 0 w 622153"/>
              <a:gd name="connsiteY14" fmla="*/ 487115 h 596091"/>
              <a:gd name="connsiteX15" fmla="*/ 0 w 622153"/>
              <a:gd name="connsiteY15" fmla="*/ 433008 h 596091"/>
              <a:gd name="connsiteX16" fmla="*/ 173447 w 622153"/>
              <a:gd name="connsiteY16" fmla="*/ 398715 h 596091"/>
              <a:gd name="connsiteX17" fmla="*/ 318240 w 622153"/>
              <a:gd name="connsiteY17" fmla="*/ 307267 h 596091"/>
              <a:gd name="connsiteX18" fmla="*/ 463796 w 622153"/>
              <a:gd name="connsiteY18" fmla="*/ 153 h 596091"/>
              <a:gd name="connsiteX19" fmla="*/ 409689 w 622153"/>
              <a:gd name="connsiteY19" fmla="*/ 153 h 596091"/>
              <a:gd name="connsiteX20" fmla="*/ 0 w 622153"/>
              <a:gd name="connsiteY20" fmla="*/ 378901 h 596091"/>
              <a:gd name="connsiteX21" fmla="*/ 0 w 622153"/>
              <a:gd name="connsiteY21" fmla="*/ 324794 h 596091"/>
              <a:gd name="connsiteX22" fmla="*/ 298274 w 622153"/>
              <a:gd name="connsiteY22" fmla="*/ 163998 h 596091"/>
              <a:gd name="connsiteX23" fmla="*/ 355582 w 622153"/>
              <a:gd name="connsiteY23" fmla="*/ 153 h 596091"/>
              <a:gd name="connsiteX24" fmla="*/ 300713 w 622153"/>
              <a:gd name="connsiteY24" fmla="*/ 153 h 596091"/>
              <a:gd name="connsiteX25" fmla="*/ 202863 w 622153"/>
              <a:gd name="connsiteY25" fmla="*/ 192956 h 596091"/>
              <a:gd name="connsiteX26" fmla="*/ 0 w 622153"/>
              <a:gd name="connsiteY26" fmla="*/ 270992 h 596091"/>
              <a:gd name="connsiteX27" fmla="*/ 0 w 622153"/>
              <a:gd name="connsiteY27" fmla="*/ 216885 h 596091"/>
              <a:gd name="connsiteX28" fmla="*/ 116139 w 622153"/>
              <a:gd name="connsiteY28" fmla="*/ 188231 h 596091"/>
              <a:gd name="connsiteX29" fmla="*/ 246606 w 622153"/>
              <a:gd name="connsiteY29" fmla="*/ 457 h 596091"/>
              <a:gd name="connsiteX30" fmla="*/ 191737 w 622153"/>
              <a:gd name="connsiteY30" fmla="*/ 153 h 596091"/>
              <a:gd name="connsiteX31" fmla="*/ 89010 w 622153"/>
              <a:gd name="connsiteY31" fmla="*/ 141745 h 596091"/>
              <a:gd name="connsiteX32" fmla="*/ 0 w 622153"/>
              <a:gd name="connsiteY32" fmla="*/ 162473 h 596091"/>
              <a:gd name="connsiteX33" fmla="*/ 0 w 622153"/>
              <a:gd name="connsiteY33" fmla="*/ 108366 h 596091"/>
              <a:gd name="connsiteX34" fmla="*/ 87485 w 622153"/>
              <a:gd name="connsiteY34" fmla="*/ 77884 h 596091"/>
              <a:gd name="connsiteX35" fmla="*/ 136868 w 622153"/>
              <a:gd name="connsiteY35" fmla="*/ 0 h 596091"/>
              <a:gd name="connsiteX36" fmla="*/ 80322 w 622153"/>
              <a:gd name="connsiteY36" fmla="*/ 153 h 596091"/>
              <a:gd name="connsiteX37" fmla="*/ 48468 w 622153"/>
              <a:gd name="connsiteY37" fmla="*/ 39171 h 596091"/>
              <a:gd name="connsiteX38" fmla="*/ 0 w 622153"/>
              <a:gd name="connsiteY38" fmla="*/ 54412 h 596091"/>
              <a:gd name="connsiteX39" fmla="*/ 0 w 622153"/>
              <a:gd name="connsiteY39" fmla="*/ 305 h 596091"/>
              <a:gd name="connsiteX40" fmla="*/ 80322 w 622153"/>
              <a:gd name="connsiteY40" fmla="*/ 305 h 596091"/>
              <a:gd name="connsiteX41" fmla="*/ 622154 w 622153"/>
              <a:gd name="connsiteY41" fmla="*/ 360612 h 596091"/>
              <a:gd name="connsiteX42" fmla="*/ 384236 w 622153"/>
              <a:gd name="connsiteY42" fmla="*/ 596091 h 596091"/>
              <a:gd name="connsiteX43" fmla="*/ 266420 w 622153"/>
              <a:gd name="connsiteY43" fmla="*/ 596091 h 596091"/>
              <a:gd name="connsiteX44" fmla="*/ 477361 w 622153"/>
              <a:gd name="connsiteY44" fmla="*/ 454803 h 596091"/>
              <a:gd name="connsiteX45" fmla="*/ 622154 w 622153"/>
              <a:gd name="connsiteY45" fmla="*/ 246758 h 596091"/>
              <a:gd name="connsiteX46" fmla="*/ 478885 w 622153"/>
              <a:gd name="connsiteY46" fmla="*/ 596091 h 596091"/>
              <a:gd name="connsiteX47" fmla="*/ 622154 w 622153"/>
              <a:gd name="connsiteY47" fmla="*/ 454499 h 596091"/>
              <a:gd name="connsiteX48" fmla="*/ 622154 w 622153"/>
              <a:gd name="connsiteY48" fmla="*/ 538022 h 596091"/>
              <a:gd name="connsiteX49" fmla="*/ 564084 w 622153"/>
              <a:gd name="connsiteY49" fmla="*/ 596091 h 59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622153" h="596091">
                <a:moveTo>
                  <a:pt x="622154" y="48620"/>
                </a:moveTo>
                <a:cubicBezTo>
                  <a:pt x="612643" y="122709"/>
                  <a:pt x="589720" y="194450"/>
                  <a:pt x="554482" y="260323"/>
                </a:cubicBezTo>
                <a:cubicBezTo>
                  <a:pt x="520509" y="325145"/>
                  <a:pt x="475547" y="383580"/>
                  <a:pt x="421577" y="433008"/>
                </a:cubicBezTo>
                <a:cubicBezTo>
                  <a:pt x="310147" y="533495"/>
                  <a:pt x="166588" y="591031"/>
                  <a:pt x="16613" y="595329"/>
                </a:cubicBezTo>
                <a:lnTo>
                  <a:pt x="0" y="595329"/>
                </a:lnTo>
                <a:lnTo>
                  <a:pt x="0" y="541222"/>
                </a:lnTo>
                <a:cubicBezTo>
                  <a:pt x="73936" y="541619"/>
                  <a:pt x="147201" y="527261"/>
                  <a:pt x="215513" y="499003"/>
                </a:cubicBezTo>
                <a:cubicBezTo>
                  <a:pt x="281768" y="471828"/>
                  <a:pt x="342474" y="432718"/>
                  <a:pt x="394600" y="383626"/>
                </a:cubicBezTo>
                <a:cubicBezTo>
                  <a:pt x="446375" y="334671"/>
                  <a:pt x="488456" y="276388"/>
                  <a:pt x="518665" y="211856"/>
                </a:cubicBezTo>
                <a:cubicBezTo>
                  <a:pt x="550397" y="145555"/>
                  <a:pt x="568535" y="73570"/>
                  <a:pt x="572010" y="153"/>
                </a:cubicBezTo>
                <a:lnTo>
                  <a:pt x="622154" y="153"/>
                </a:lnTo>
                <a:close/>
                <a:moveTo>
                  <a:pt x="517903" y="153"/>
                </a:moveTo>
                <a:cubicBezTo>
                  <a:pt x="509078" y="131640"/>
                  <a:pt x="451466" y="255080"/>
                  <a:pt x="356344" y="346285"/>
                </a:cubicBezTo>
                <a:cubicBezTo>
                  <a:pt x="309339" y="390149"/>
                  <a:pt x="254608" y="424930"/>
                  <a:pt x="194937" y="448859"/>
                </a:cubicBezTo>
                <a:cubicBezTo>
                  <a:pt x="133103" y="474267"/>
                  <a:pt x="66864" y="487268"/>
                  <a:pt x="0" y="487115"/>
                </a:cubicBezTo>
                <a:lnTo>
                  <a:pt x="0" y="433008"/>
                </a:lnTo>
                <a:cubicBezTo>
                  <a:pt x="59487" y="432871"/>
                  <a:pt x="118380" y="421226"/>
                  <a:pt x="173447" y="398715"/>
                </a:cubicBezTo>
                <a:cubicBezTo>
                  <a:pt x="227066" y="377682"/>
                  <a:pt x="276205" y="346651"/>
                  <a:pt x="318240" y="307267"/>
                </a:cubicBezTo>
                <a:cubicBezTo>
                  <a:pt x="403257" y="226548"/>
                  <a:pt x="455154" y="117054"/>
                  <a:pt x="463796" y="153"/>
                </a:cubicBezTo>
                <a:close/>
                <a:moveTo>
                  <a:pt x="409689" y="153"/>
                </a:moveTo>
                <a:cubicBezTo>
                  <a:pt x="393259" y="214142"/>
                  <a:pt x="214629" y="379298"/>
                  <a:pt x="0" y="378901"/>
                </a:cubicBezTo>
                <a:lnTo>
                  <a:pt x="0" y="324794"/>
                </a:lnTo>
                <a:cubicBezTo>
                  <a:pt x="120209" y="325053"/>
                  <a:pt x="232416" y="264576"/>
                  <a:pt x="298274" y="163998"/>
                </a:cubicBezTo>
                <a:cubicBezTo>
                  <a:pt x="331013" y="115149"/>
                  <a:pt x="350750" y="58756"/>
                  <a:pt x="355582" y="153"/>
                </a:cubicBezTo>
                <a:close/>
                <a:moveTo>
                  <a:pt x="300713" y="153"/>
                </a:moveTo>
                <a:cubicBezTo>
                  <a:pt x="294205" y="74637"/>
                  <a:pt x="259149" y="143727"/>
                  <a:pt x="202863" y="192956"/>
                </a:cubicBezTo>
                <a:cubicBezTo>
                  <a:pt x="147689" y="243908"/>
                  <a:pt x="75110" y="271830"/>
                  <a:pt x="0" y="270992"/>
                </a:cubicBezTo>
                <a:lnTo>
                  <a:pt x="0" y="216885"/>
                </a:lnTo>
                <a:cubicBezTo>
                  <a:pt x="40496" y="217205"/>
                  <a:pt x="80429" y="207359"/>
                  <a:pt x="116139" y="188231"/>
                </a:cubicBezTo>
                <a:cubicBezTo>
                  <a:pt x="187622" y="150646"/>
                  <a:pt x="236318" y="80566"/>
                  <a:pt x="246606" y="457"/>
                </a:cubicBezTo>
                <a:close/>
                <a:moveTo>
                  <a:pt x="191737" y="153"/>
                </a:moveTo>
                <a:cubicBezTo>
                  <a:pt x="181952" y="60996"/>
                  <a:pt x="143803" y="113564"/>
                  <a:pt x="89010" y="141745"/>
                </a:cubicBezTo>
                <a:cubicBezTo>
                  <a:pt x="61362" y="155493"/>
                  <a:pt x="30879" y="162595"/>
                  <a:pt x="0" y="162473"/>
                </a:cubicBezTo>
                <a:lnTo>
                  <a:pt x="0" y="108366"/>
                </a:lnTo>
                <a:cubicBezTo>
                  <a:pt x="31854" y="108885"/>
                  <a:pt x="62855" y="98078"/>
                  <a:pt x="87485" y="77884"/>
                </a:cubicBezTo>
                <a:cubicBezTo>
                  <a:pt x="112299" y="58268"/>
                  <a:pt x="129704" y="30803"/>
                  <a:pt x="136868" y="0"/>
                </a:cubicBezTo>
                <a:close/>
                <a:moveTo>
                  <a:pt x="80322" y="153"/>
                </a:moveTo>
                <a:cubicBezTo>
                  <a:pt x="73570" y="15882"/>
                  <a:pt x="62535" y="29401"/>
                  <a:pt x="48468" y="39171"/>
                </a:cubicBezTo>
                <a:cubicBezTo>
                  <a:pt x="34324" y="49230"/>
                  <a:pt x="17360" y="54564"/>
                  <a:pt x="0" y="54412"/>
                </a:cubicBezTo>
                <a:lnTo>
                  <a:pt x="0" y="305"/>
                </a:lnTo>
                <a:lnTo>
                  <a:pt x="80322" y="305"/>
                </a:lnTo>
                <a:close/>
                <a:moveTo>
                  <a:pt x="622154" y="360612"/>
                </a:moveTo>
                <a:cubicBezTo>
                  <a:pt x="562194" y="456495"/>
                  <a:pt x="480744" y="537122"/>
                  <a:pt x="384236" y="596091"/>
                </a:cubicBezTo>
                <a:lnTo>
                  <a:pt x="266420" y="596091"/>
                </a:lnTo>
                <a:cubicBezTo>
                  <a:pt x="344898" y="562499"/>
                  <a:pt x="416425" y="514595"/>
                  <a:pt x="477361" y="454803"/>
                </a:cubicBezTo>
                <a:cubicBezTo>
                  <a:pt x="538418" y="395286"/>
                  <a:pt x="587556" y="324688"/>
                  <a:pt x="622154" y="246758"/>
                </a:cubicBezTo>
                <a:close/>
                <a:moveTo>
                  <a:pt x="478885" y="596091"/>
                </a:moveTo>
                <a:cubicBezTo>
                  <a:pt x="532504" y="555229"/>
                  <a:pt x="580652" y="507630"/>
                  <a:pt x="622154" y="454499"/>
                </a:cubicBezTo>
                <a:lnTo>
                  <a:pt x="622154" y="538022"/>
                </a:lnTo>
                <a:cubicBezTo>
                  <a:pt x="603559" y="558338"/>
                  <a:pt x="584203" y="577695"/>
                  <a:pt x="564084" y="596091"/>
                </a:cubicBezTo>
                <a:close/>
              </a:path>
            </a:pathLst>
          </a:custGeom>
          <a:solidFill>
            <a:srgbClr val="39870C"/>
          </a:solidFill>
          <a:ln w="15240" cap="flat">
            <a:noFill/>
            <a:prstDash val="solid"/>
            <a:miter/>
          </a:ln>
        </p:spPr>
        <p:txBody>
          <a:bodyPr rtlCol="0" anchor="ctr"/>
          <a:lstStyle/>
          <a:p>
            <a:endParaRPr lang="nl-NL"/>
          </a:p>
        </p:txBody>
      </p:sp>
      <p:sp>
        <p:nvSpPr>
          <p:cNvPr id="9" name="Vrije vorm: vorm 8">
            <a:extLst>
              <a:ext uri="{FF2B5EF4-FFF2-40B4-BE49-F238E27FC236}">
                <a16:creationId xmlns:a16="http://schemas.microsoft.com/office/drawing/2014/main" id="{E962AC15-78D4-4835-B6B3-4E046CDA7CAB}"/>
              </a:ext>
            </a:extLst>
          </p:cNvPr>
          <p:cNvSpPr/>
          <p:nvPr userDrawn="1"/>
        </p:nvSpPr>
        <p:spPr>
          <a:xfrm>
            <a:off x="3386095" y="5897573"/>
            <a:ext cx="622458" cy="595176"/>
          </a:xfrm>
          <a:custGeom>
            <a:avLst/>
            <a:gdLst>
              <a:gd name="connsiteX0" fmla="*/ 573229 w 622458"/>
              <a:gd name="connsiteY0" fmla="*/ 0 h 595176"/>
              <a:gd name="connsiteX1" fmla="*/ 622459 w 622458"/>
              <a:gd name="connsiteY1" fmla="*/ 0 h 595176"/>
              <a:gd name="connsiteX2" fmla="*/ 622459 w 622458"/>
              <a:gd name="connsiteY2" fmla="*/ 26977 h 595176"/>
              <a:gd name="connsiteX3" fmla="*/ 54412 w 622458"/>
              <a:gd name="connsiteY3" fmla="*/ 595177 h 595176"/>
              <a:gd name="connsiteX4" fmla="*/ 305 w 622458"/>
              <a:gd name="connsiteY4" fmla="*/ 595177 h 595176"/>
              <a:gd name="connsiteX5" fmla="*/ 305 w 622458"/>
              <a:gd name="connsiteY5" fmla="*/ 572924 h 595176"/>
              <a:gd name="connsiteX6" fmla="*/ 305 w 622458"/>
              <a:gd name="connsiteY6" fmla="*/ 429655 h 595176"/>
              <a:gd name="connsiteX7" fmla="*/ 429960 w 622458"/>
              <a:gd name="connsiteY7" fmla="*/ 0 h 595176"/>
              <a:gd name="connsiteX8" fmla="*/ 506167 w 622458"/>
              <a:gd name="connsiteY8" fmla="*/ 0 h 595176"/>
              <a:gd name="connsiteX9" fmla="*/ 153 w 622458"/>
              <a:gd name="connsiteY9" fmla="*/ 506014 h 595176"/>
              <a:gd name="connsiteX10" fmla="*/ 305 w 622458"/>
              <a:gd name="connsiteY10" fmla="*/ 286386 h 595176"/>
              <a:gd name="connsiteX11" fmla="*/ 286691 w 622458"/>
              <a:gd name="connsiteY11" fmla="*/ 0 h 595176"/>
              <a:gd name="connsiteX12" fmla="*/ 362898 w 622458"/>
              <a:gd name="connsiteY12" fmla="*/ 0 h 595176"/>
              <a:gd name="connsiteX13" fmla="*/ 0 w 622458"/>
              <a:gd name="connsiteY13" fmla="*/ 362745 h 595176"/>
              <a:gd name="connsiteX14" fmla="*/ 305 w 622458"/>
              <a:gd name="connsiteY14" fmla="*/ 144031 h 595176"/>
              <a:gd name="connsiteX15" fmla="*/ 144336 w 622458"/>
              <a:gd name="connsiteY15" fmla="*/ 0 h 595176"/>
              <a:gd name="connsiteX16" fmla="*/ 220543 w 622458"/>
              <a:gd name="connsiteY16" fmla="*/ 0 h 595176"/>
              <a:gd name="connsiteX17" fmla="*/ 153 w 622458"/>
              <a:gd name="connsiteY17" fmla="*/ 220391 h 595176"/>
              <a:gd name="connsiteX18" fmla="*/ 305 w 622458"/>
              <a:gd name="connsiteY18" fmla="*/ 1524 h 595176"/>
              <a:gd name="connsiteX19" fmla="*/ 1829 w 622458"/>
              <a:gd name="connsiteY19" fmla="*/ 0 h 595176"/>
              <a:gd name="connsiteX20" fmla="*/ 78036 w 622458"/>
              <a:gd name="connsiteY20" fmla="*/ 0 h 595176"/>
              <a:gd name="connsiteX21" fmla="*/ 0 w 622458"/>
              <a:gd name="connsiteY21" fmla="*/ 77884 h 595176"/>
              <a:gd name="connsiteX22" fmla="*/ 121169 w 622458"/>
              <a:gd name="connsiteY22" fmla="*/ 595177 h 595176"/>
              <a:gd name="connsiteX23" fmla="*/ 622459 w 622458"/>
              <a:gd name="connsiteY23" fmla="*/ 93887 h 595176"/>
              <a:gd name="connsiteX24" fmla="*/ 622459 w 622458"/>
              <a:gd name="connsiteY24" fmla="*/ 170094 h 595176"/>
              <a:gd name="connsiteX25" fmla="*/ 197681 w 622458"/>
              <a:gd name="connsiteY25" fmla="*/ 595177 h 595176"/>
              <a:gd name="connsiteX26" fmla="*/ 263676 w 622458"/>
              <a:gd name="connsiteY26" fmla="*/ 595177 h 595176"/>
              <a:gd name="connsiteX27" fmla="*/ 622459 w 622458"/>
              <a:gd name="connsiteY27" fmla="*/ 236242 h 595176"/>
              <a:gd name="connsiteX28" fmla="*/ 622459 w 622458"/>
              <a:gd name="connsiteY28" fmla="*/ 312449 h 595176"/>
              <a:gd name="connsiteX29" fmla="*/ 340036 w 622458"/>
              <a:gd name="connsiteY29" fmla="*/ 595177 h 595176"/>
              <a:gd name="connsiteX30" fmla="*/ 406946 w 622458"/>
              <a:gd name="connsiteY30" fmla="*/ 595177 h 595176"/>
              <a:gd name="connsiteX31" fmla="*/ 622459 w 622458"/>
              <a:gd name="connsiteY31" fmla="*/ 379511 h 595176"/>
              <a:gd name="connsiteX32" fmla="*/ 622459 w 622458"/>
              <a:gd name="connsiteY32" fmla="*/ 455718 h 595176"/>
              <a:gd name="connsiteX33" fmla="*/ 483762 w 622458"/>
              <a:gd name="connsiteY33" fmla="*/ 595177 h 595176"/>
              <a:gd name="connsiteX34" fmla="*/ 622459 w 622458"/>
              <a:gd name="connsiteY34" fmla="*/ 595177 h 595176"/>
              <a:gd name="connsiteX35" fmla="*/ 546252 w 622458"/>
              <a:gd name="connsiteY35" fmla="*/ 595177 h 595176"/>
              <a:gd name="connsiteX36" fmla="*/ 622459 w 622458"/>
              <a:gd name="connsiteY36" fmla="*/ 518969 h 59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22458" h="595176">
                <a:moveTo>
                  <a:pt x="573229" y="0"/>
                </a:moveTo>
                <a:lnTo>
                  <a:pt x="622459" y="0"/>
                </a:lnTo>
                <a:lnTo>
                  <a:pt x="622459" y="26977"/>
                </a:lnTo>
                <a:lnTo>
                  <a:pt x="54412" y="595177"/>
                </a:lnTo>
                <a:lnTo>
                  <a:pt x="305" y="595177"/>
                </a:lnTo>
                <a:lnTo>
                  <a:pt x="305" y="572924"/>
                </a:lnTo>
                <a:close/>
                <a:moveTo>
                  <a:pt x="305" y="429655"/>
                </a:moveTo>
                <a:lnTo>
                  <a:pt x="429960" y="0"/>
                </a:lnTo>
                <a:lnTo>
                  <a:pt x="506167" y="0"/>
                </a:lnTo>
                <a:lnTo>
                  <a:pt x="153" y="506014"/>
                </a:lnTo>
                <a:close/>
                <a:moveTo>
                  <a:pt x="305" y="286386"/>
                </a:moveTo>
                <a:lnTo>
                  <a:pt x="286691" y="0"/>
                </a:lnTo>
                <a:lnTo>
                  <a:pt x="362898" y="0"/>
                </a:lnTo>
                <a:lnTo>
                  <a:pt x="0" y="362745"/>
                </a:lnTo>
                <a:close/>
                <a:moveTo>
                  <a:pt x="305" y="144031"/>
                </a:moveTo>
                <a:lnTo>
                  <a:pt x="144336" y="0"/>
                </a:lnTo>
                <a:lnTo>
                  <a:pt x="220543" y="0"/>
                </a:lnTo>
                <a:lnTo>
                  <a:pt x="153" y="220391"/>
                </a:lnTo>
                <a:close/>
                <a:moveTo>
                  <a:pt x="305" y="1524"/>
                </a:moveTo>
                <a:lnTo>
                  <a:pt x="1829" y="0"/>
                </a:lnTo>
                <a:lnTo>
                  <a:pt x="78036" y="0"/>
                </a:lnTo>
                <a:lnTo>
                  <a:pt x="0" y="77884"/>
                </a:lnTo>
                <a:close/>
                <a:moveTo>
                  <a:pt x="121169" y="595177"/>
                </a:moveTo>
                <a:lnTo>
                  <a:pt x="622459" y="93887"/>
                </a:lnTo>
                <a:lnTo>
                  <a:pt x="622459" y="170094"/>
                </a:lnTo>
                <a:lnTo>
                  <a:pt x="197681" y="595177"/>
                </a:lnTo>
                <a:close/>
                <a:moveTo>
                  <a:pt x="263676" y="595177"/>
                </a:moveTo>
                <a:lnTo>
                  <a:pt x="622459" y="236242"/>
                </a:lnTo>
                <a:lnTo>
                  <a:pt x="622459" y="312449"/>
                </a:lnTo>
                <a:lnTo>
                  <a:pt x="340036" y="595177"/>
                </a:lnTo>
                <a:close/>
                <a:moveTo>
                  <a:pt x="406946" y="595177"/>
                </a:moveTo>
                <a:lnTo>
                  <a:pt x="622459" y="379511"/>
                </a:lnTo>
                <a:lnTo>
                  <a:pt x="622459" y="455718"/>
                </a:lnTo>
                <a:lnTo>
                  <a:pt x="483762" y="595177"/>
                </a:lnTo>
                <a:close/>
                <a:moveTo>
                  <a:pt x="622459" y="595177"/>
                </a:moveTo>
                <a:lnTo>
                  <a:pt x="546252" y="595177"/>
                </a:lnTo>
                <a:lnTo>
                  <a:pt x="622459" y="518969"/>
                </a:lnTo>
                <a:close/>
              </a:path>
            </a:pathLst>
          </a:custGeom>
          <a:solidFill>
            <a:srgbClr val="76D2B6"/>
          </a:solidFill>
          <a:ln w="15240" cap="flat">
            <a:noFill/>
            <a:prstDash val="solid"/>
            <a:miter/>
          </a:ln>
        </p:spPr>
        <p:txBody>
          <a:bodyPr rtlCol="0" anchor="ctr"/>
          <a:lstStyle/>
          <a:p>
            <a:endParaRPr lang="nl-NL"/>
          </a:p>
        </p:txBody>
      </p:sp>
      <p:sp>
        <p:nvSpPr>
          <p:cNvPr id="10" name="Vrije vorm: vorm 9">
            <a:extLst>
              <a:ext uri="{FF2B5EF4-FFF2-40B4-BE49-F238E27FC236}">
                <a16:creationId xmlns:a16="http://schemas.microsoft.com/office/drawing/2014/main" id="{9FA2FABC-526E-4C10-992F-0DDC5F293E8B}"/>
              </a:ext>
            </a:extLst>
          </p:cNvPr>
          <p:cNvSpPr/>
          <p:nvPr userDrawn="1"/>
        </p:nvSpPr>
        <p:spPr>
          <a:xfrm>
            <a:off x="10214122" y="2158986"/>
            <a:ext cx="622153" cy="594567"/>
          </a:xfrm>
          <a:custGeom>
            <a:avLst/>
            <a:gdLst>
              <a:gd name="connsiteX0" fmla="*/ 0 w 622153"/>
              <a:gd name="connsiteY0" fmla="*/ 53497 h 594567"/>
              <a:gd name="connsiteX1" fmla="*/ 0 w 622153"/>
              <a:gd name="connsiteY1" fmla="*/ 0 h 594567"/>
              <a:gd name="connsiteX2" fmla="*/ 622153 w 622153"/>
              <a:gd name="connsiteY2" fmla="*/ 0 h 594567"/>
              <a:gd name="connsiteX3" fmla="*/ 622153 w 622153"/>
              <a:gd name="connsiteY3" fmla="*/ 54107 h 594567"/>
              <a:gd name="connsiteX4" fmla="*/ 0 w 622153"/>
              <a:gd name="connsiteY4" fmla="*/ 161711 h 594567"/>
              <a:gd name="connsiteX5" fmla="*/ 0 w 622153"/>
              <a:gd name="connsiteY5" fmla="*/ 107604 h 594567"/>
              <a:gd name="connsiteX6" fmla="*/ 622153 w 622153"/>
              <a:gd name="connsiteY6" fmla="*/ 107604 h 594567"/>
              <a:gd name="connsiteX7" fmla="*/ 622153 w 622153"/>
              <a:gd name="connsiteY7" fmla="*/ 161711 h 594567"/>
              <a:gd name="connsiteX8" fmla="*/ 0 w 622153"/>
              <a:gd name="connsiteY8" fmla="*/ 269925 h 594567"/>
              <a:gd name="connsiteX9" fmla="*/ 0 w 622153"/>
              <a:gd name="connsiteY9" fmla="*/ 215818 h 594567"/>
              <a:gd name="connsiteX10" fmla="*/ 622153 w 622153"/>
              <a:gd name="connsiteY10" fmla="*/ 215818 h 594567"/>
              <a:gd name="connsiteX11" fmla="*/ 622153 w 622153"/>
              <a:gd name="connsiteY11" fmla="*/ 269925 h 594567"/>
              <a:gd name="connsiteX12" fmla="*/ 0 w 622153"/>
              <a:gd name="connsiteY12" fmla="*/ 378139 h 594567"/>
              <a:gd name="connsiteX13" fmla="*/ 0 w 622153"/>
              <a:gd name="connsiteY13" fmla="*/ 324032 h 594567"/>
              <a:gd name="connsiteX14" fmla="*/ 622153 w 622153"/>
              <a:gd name="connsiteY14" fmla="*/ 324032 h 594567"/>
              <a:gd name="connsiteX15" fmla="*/ 622153 w 622153"/>
              <a:gd name="connsiteY15" fmla="*/ 378139 h 594567"/>
              <a:gd name="connsiteX16" fmla="*/ 0 w 622153"/>
              <a:gd name="connsiteY16" fmla="*/ 486353 h 594567"/>
              <a:gd name="connsiteX17" fmla="*/ 0 w 622153"/>
              <a:gd name="connsiteY17" fmla="*/ 432246 h 594567"/>
              <a:gd name="connsiteX18" fmla="*/ 622153 w 622153"/>
              <a:gd name="connsiteY18" fmla="*/ 432246 h 594567"/>
              <a:gd name="connsiteX19" fmla="*/ 622153 w 622153"/>
              <a:gd name="connsiteY19" fmla="*/ 486353 h 594567"/>
              <a:gd name="connsiteX20" fmla="*/ 0 w 622153"/>
              <a:gd name="connsiteY20" fmla="*/ 594567 h 594567"/>
              <a:gd name="connsiteX21" fmla="*/ 0 w 622153"/>
              <a:gd name="connsiteY21" fmla="*/ 540460 h 594567"/>
              <a:gd name="connsiteX22" fmla="*/ 622153 w 622153"/>
              <a:gd name="connsiteY22" fmla="*/ 540460 h 594567"/>
              <a:gd name="connsiteX23" fmla="*/ 622153 w 622153"/>
              <a:gd name="connsiteY23" fmla="*/ 594415 h 59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153" h="594567">
                <a:moveTo>
                  <a:pt x="0" y="53497"/>
                </a:moveTo>
                <a:lnTo>
                  <a:pt x="0" y="0"/>
                </a:lnTo>
                <a:lnTo>
                  <a:pt x="622153" y="0"/>
                </a:lnTo>
                <a:lnTo>
                  <a:pt x="622153" y="54107"/>
                </a:lnTo>
                <a:close/>
                <a:moveTo>
                  <a:pt x="0" y="161711"/>
                </a:moveTo>
                <a:lnTo>
                  <a:pt x="0" y="107604"/>
                </a:lnTo>
                <a:lnTo>
                  <a:pt x="622153" y="107604"/>
                </a:lnTo>
                <a:lnTo>
                  <a:pt x="622153" y="161711"/>
                </a:lnTo>
                <a:close/>
                <a:moveTo>
                  <a:pt x="0" y="269925"/>
                </a:moveTo>
                <a:lnTo>
                  <a:pt x="0" y="215818"/>
                </a:lnTo>
                <a:lnTo>
                  <a:pt x="622153" y="215818"/>
                </a:lnTo>
                <a:lnTo>
                  <a:pt x="622153" y="269925"/>
                </a:lnTo>
                <a:close/>
                <a:moveTo>
                  <a:pt x="0" y="378139"/>
                </a:moveTo>
                <a:lnTo>
                  <a:pt x="0" y="324032"/>
                </a:lnTo>
                <a:lnTo>
                  <a:pt x="622153" y="324032"/>
                </a:lnTo>
                <a:lnTo>
                  <a:pt x="622153" y="378139"/>
                </a:lnTo>
                <a:close/>
                <a:moveTo>
                  <a:pt x="0" y="486353"/>
                </a:moveTo>
                <a:lnTo>
                  <a:pt x="0" y="432246"/>
                </a:lnTo>
                <a:lnTo>
                  <a:pt x="622153" y="432246"/>
                </a:lnTo>
                <a:lnTo>
                  <a:pt x="622153" y="486353"/>
                </a:lnTo>
                <a:close/>
                <a:moveTo>
                  <a:pt x="0" y="594567"/>
                </a:moveTo>
                <a:lnTo>
                  <a:pt x="0" y="540460"/>
                </a:lnTo>
                <a:lnTo>
                  <a:pt x="622153" y="540460"/>
                </a:lnTo>
                <a:lnTo>
                  <a:pt x="622153" y="594415"/>
                </a:lnTo>
                <a:close/>
              </a:path>
            </a:pathLst>
          </a:custGeom>
          <a:solidFill>
            <a:srgbClr val="39870C"/>
          </a:solidFill>
          <a:ln w="15240" cap="flat">
            <a:noFill/>
            <a:prstDash val="solid"/>
            <a:miter/>
          </a:ln>
        </p:spPr>
        <p:txBody>
          <a:bodyPr rtlCol="0" anchor="ctr"/>
          <a:lstStyle/>
          <a:p>
            <a:endParaRPr lang="nl-NL"/>
          </a:p>
        </p:txBody>
      </p:sp>
      <p:sp>
        <p:nvSpPr>
          <p:cNvPr id="11" name="Vrije vorm: vorm 10">
            <a:extLst>
              <a:ext uri="{FF2B5EF4-FFF2-40B4-BE49-F238E27FC236}">
                <a16:creationId xmlns:a16="http://schemas.microsoft.com/office/drawing/2014/main" id="{D11EEA1D-E5BD-473D-9D64-C942667948A7}"/>
              </a:ext>
            </a:extLst>
          </p:cNvPr>
          <p:cNvSpPr/>
          <p:nvPr userDrawn="1"/>
        </p:nvSpPr>
        <p:spPr>
          <a:xfrm>
            <a:off x="10890078" y="2158986"/>
            <a:ext cx="622154" cy="594414"/>
          </a:xfrm>
          <a:custGeom>
            <a:avLst/>
            <a:gdLst>
              <a:gd name="connsiteX0" fmla="*/ 0 w 622154"/>
              <a:gd name="connsiteY0" fmla="*/ 594415 h 594414"/>
              <a:gd name="connsiteX1" fmla="*/ 0 w 622154"/>
              <a:gd name="connsiteY1" fmla="*/ 0 h 594414"/>
              <a:gd name="connsiteX2" fmla="*/ 54107 w 622154"/>
              <a:gd name="connsiteY2" fmla="*/ 0 h 594414"/>
              <a:gd name="connsiteX3" fmla="*/ 54107 w 622154"/>
              <a:gd name="connsiteY3" fmla="*/ 594415 h 594414"/>
              <a:gd name="connsiteX4" fmla="*/ 113701 w 622154"/>
              <a:gd name="connsiteY4" fmla="*/ 594415 h 594414"/>
              <a:gd name="connsiteX5" fmla="*/ 113701 w 622154"/>
              <a:gd name="connsiteY5" fmla="*/ 0 h 594414"/>
              <a:gd name="connsiteX6" fmla="*/ 167655 w 622154"/>
              <a:gd name="connsiteY6" fmla="*/ 0 h 594414"/>
              <a:gd name="connsiteX7" fmla="*/ 167655 w 622154"/>
              <a:gd name="connsiteY7" fmla="*/ 594415 h 594414"/>
              <a:gd name="connsiteX8" fmla="*/ 227554 w 622154"/>
              <a:gd name="connsiteY8" fmla="*/ 594415 h 594414"/>
              <a:gd name="connsiteX9" fmla="*/ 227554 w 622154"/>
              <a:gd name="connsiteY9" fmla="*/ 0 h 594414"/>
              <a:gd name="connsiteX10" fmla="*/ 281661 w 622154"/>
              <a:gd name="connsiteY10" fmla="*/ 0 h 594414"/>
              <a:gd name="connsiteX11" fmla="*/ 281661 w 622154"/>
              <a:gd name="connsiteY11" fmla="*/ 594415 h 594414"/>
              <a:gd name="connsiteX12" fmla="*/ 340493 w 622154"/>
              <a:gd name="connsiteY12" fmla="*/ 594415 h 594414"/>
              <a:gd name="connsiteX13" fmla="*/ 340493 w 622154"/>
              <a:gd name="connsiteY13" fmla="*/ 0 h 594414"/>
              <a:gd name="connsiteX14" fmla="*/ 394600 w 622154"/>
              <a:gd name="connsiteY14" fmla="*/ 0 h 594414"/>
              <a:gd name="connsiteX15" fmla="*/ 394600 w 622154"/>
              <a:gd name="connsiteY15" fmla="*/ 594415 h 594414"/>
              <a:gd name="connsiteX16" fmla="*/ 454194 w 622154"/>
              <a:gd name="connsiteY16" fmla="*/ 594415 h 594414"/>
              <a:gd name="connsiteX17" fmla="*/ 454194 w 622154"/>
              <a:gd name="connsiteY17" fmla="*/ 0 h 594414"/>
              <a:gd name="connsiteX18" fmla="*/ 508300 w 622154"/>
              <a:gd name="connsiteY18" fmla="*/ 0 h 594414"/>
              <a:gd name="connsiteX19" fmla="*/ 508300 w 622154"/>
              <a:gd name="connsiteY19" fmla="*/ 594415 h 594414"/>
              <a:gd name="connsiteX20" fmla="*/ 568047 w 622154"/>
              <a:gd name="connsiteY20" fmla="*/ 594415 h 594414"/>
              <a:gd name="connsiteX21" fmla="*/ 568047 w 622154"/>
              <a:gd name="connsiteY21" fmla="*/ 0 h 594414"/>
              <a:gd name="connsiteX22" fmla="*/ 622154 w 622154"/>
              <a:gd name="connsiteY22" fmla="*/ 0 h 594414"/>
              <a:gd name="connsiteX23" fmla="*/ 622154 w 622154"/>
              <a:gd name="connsiteY23" fmla="*/ 594415 h 59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2154" h="594414">
                <a:moveTo>
                  <a:pt x="0" y="594415"/>
                </a:moveTo>
                <a:lnTo>
                  <a:pt x="0" y="0"/>
                </a:lnTo>
                <a:lnTo>
                  <a:pt x="54107" y="0"/>
                </a:lnTo>
                <a:lnTo>
                  <a:pt x="54107" y="594415"/>
                </a:lnTo>
                <a:close/>
                <a:moveTo>
                  <a:pt x="113701" y="594415"/>
                </a:moveTo>
                <a:lnTo>
                  <a:pt x="113701" y="0"/>
                </a:lnTo>
                <a:lnTo>
                  <a:pt x="167655" y="0"/>
                </a:lnTo>
                <a:lnTo>
                  <a:pt x="167655" y="594415"/>
                </a:lnTo>
                <a:close/>
                <a:moveTo>
                  <a:pt x="227554" y="594415"/>
                </a:moveTo>
                <a:lnTo>
                  <a:pt x="227554" y="0"/>
                </a:lnTo>
                <a:lnTo>
                  <a:pt x="281661" y="0"/>
                </a:lnTo>
                <a:lnTo>
                  <a:pt x="281661" y="594415"/>
                </a:lnTo>
                <a:close/>
                <a:moveTo>
                  <a:pt x="340493" y="594415"/>
                </a:moveTo>
                <a:lnTo>
                  <a:pt x="340493" y="0"/>
                </a:lnTo>
                <a:lnTo>
                  <a:pt x="394600" y="0"/>
                </a:lnTo>
                <a:lnTo>
                  <a:pt x="394600" y="594415"/>
                </a:lnTo>
                <a:close/>
                <a:moveTo>
                  <a:pt x="454194" y="594415"/>
                </a:moveTo>
                <a:lnTo>
                  <a:pt x="454194" y="0"/>
                </a:lnTo>
                <a:lnTo>
                  <a:pt x="508300" y="0"/>
                </a:lnTo>
                <a:lnTo>
                  <a:pt x="508300" y="594415"/>
                </a:lnTo>
                <a:close/>
                <a:moveTo>
                  <a:pt x="568047" y="594415"/>
                </a:moveTo>
                <a:lnTo>
                  <a:pt x="568047" y="0"/>
                </a:lnTo>
                <a:lnTo>
                  <a:pt x="622154" y="0"/>
                </a:lnTo>
                <a:lnTo>
                  <a:pt x="622154" y="594415"/>
                </a:lnTo>
                <a:close/>
              </a:path>
            </a:pathLst>
          </a:custGeom>
          <a:solidFill>
            <a:schemeClr val="accent5"/>
          </a:solidFill>
          <a:ln w="15240" cap="flat">
            <a:noFill/>
            <a:prstDash val="solid"/>
            <a:miter/>
          </a:ln>
        </p:spPr>
        <p:txBody>
          <a:bodyPr rtlCol="0" anchor="ctr"/>
          <a:lstStyle/>
          <a:p>
            <a:endParaRPr lang="nl-NL"/>
          </a:p>
        </p:txBody>
      </p:sp>
      <p:sp>
        <p:nvSpPr>
          <p:cNvPr id="12" name="Vrije vorm: vorm 11">
            <a:extLst>
              <a:ext uri="{FF2B5EF4-FFF2-40B4-BE49-F238E27FC236}">
                <a16:creationId xmlns:a16="http://schemas.microsoft.com/office/drawing/2014/main" id="{D94538CF-DA09-404E-A57F-DC3237502687}"/>
              </a:ext>
            </a:extLst>
          </p:cNvPr>
          <p:cNvSpPr/>
          <p:nvPr userDrawn="1"/>
        </p:nvSpPr>
        <p:spPr>
          <a:xfrm>
            <a:off x="9538279" y="1512402"/>
            <a:ext cx="621429" cy="597158"/>
          </a:xfrm>
          <a:custGeom>
            <a:avLst/>
            <a:gdLst>
              <a:gd name="connsiteX0" fmla="*/ 69215 w 621429"/>
              <a:gd name="connsiteY0" fmla="*/ 552501 h 597158"/>
              <a:gd name="connsiteX1" fmla="*/ 92382 w 621429"/>
              <a:gd name="connsiteY1" fmla="*/ 595482 h 597158"/>
              <a:gd name="connsiteX2" fmla="*/ 33398 w 621429"/>
              <a:gd name="connsiteY2" fmla="*/ 595482 h 597158"/>
              <a:gd name="connsiteX3" fmla="*/ 26234 w 621429"/>
              <a:gd name="connsiteY3" fmla="*/ 585270 h 597158"/>
              <a:gd name="connsiteX4" fmla="*/ 19 w 621429"/>
              <a:gd name="connsiteY4" fmla="*/ 514397 h 597158"/>
              <a:gd name="connsiteX5" fmla="*/ 26234 w 621429"/>
              <a:gd name="connsiteY5" fmla="*/ 444439 h 597158"/>
              <a:gd name="connsiteX6" fmla="*/ 34617 w 621429"/>
              <a:gd name="connsiteY6" fmla="*/ 432398 h 597158"/>
              <a:gd name="connsiteX7" fmla="*/ 39341 w 621429"/>
              <a:gd name="connsiteY7" fmla="*/ 421730 h 597158"/>
              <a:gd name="connsiteX8" fmla="*/ 39341 w 621429"/>
              <a:gd name="connsiteY8" fmla="*/ 391247 h 597158"/>
              <a:gd name="connsiteX9" fmla="*/ 34617 w 621429"/>
              <a:gd name="connsiteY9" fmla="*/ 380578 h 597158"/>
              <a:gd name="connsiteX10" fmla="*/ 26234 w 621429"/>
              <a:gd name="connsiteY10" fmla="*/ 368690 h 597158"/>
              <a:gd name="connsiteX11" fmla="*/ 19 w 621429"/>
              <a:gd name="connsiteY11" fmla="*/ 297817 h 597158"/>
              <a:gd name="connsiteX12" fmla="*/ 26234 w 621429"/>
              <a:gd name="connsiteY12" fmla="*/ 227859 h 597158"/>
              <a:gd name="connsiteX13" fmla="*/ 34617 w 621429"/>
              <a:gd name="connsiteY13" fmla="*/ 215971 h 597158"/>
              <a:gd name="connsiteX14" fmla="*/ 39341 w 621429"/>
              <a:gd name="connsiteY14" fmla="*/ 205150 h 597158"/>
              <a:gd name="connsiteX15" fmla="*/ 41475 w 621429"/>
              <a:gd name="connsiteY15" fmla="*/ 189908 h 597158"/>
              <a:gd name="connsiteX16" fmla="*/ 39341 w 621429"/>
              <a:gd name="connsiteY16" fmla="*/ 174667 h 597158"/>
              <a:gd name="connsiteX17" fmla="*/ 34617 w 621429"/>
              <a:gd name="connsiteY17" fmla="*/ 163845 h 597158"/>
              <a:gd name="connsiteX18" fmla="*/ 26234 w 621429"/>
              <a:gd name="connsiteY18" fmla="*/ 151957 h 597158"/>
              <a:gd name="connsiteX19" fmla="*/ 26234 w 621429"/>
              <a:gd name="connsiteY19" fmla="*/ 11126 h 597158"/>
              <a:gd name="connsiteX20" fmla="*/ 34312 w 621429"/>
              <a:gd name="connsiteY20" fmla="*/ 0 h 597158"/>
              <a:gd name="connsiteX21" fmla="*/ 92382 w 621429"/>
              <a:gd name="connsiteY21" fmla="*/ 0 h 597158"/>
              <a:gd name="connsiteX22" fmla="*/ 69215 w 621429"/>
              <a:gd name="connsiteY22" fmla="*/ 43743 h 597158"/>
              <a:gd name="connsiteX23" fmla="*/ 60832 w 621429"/>
              <a:gd name="connsiteY23" fmla="*/ 55631 h 597158"/>
              <a:gd name="connsiteX24" fmla="*/ 56108 w 621429"/>
              <a:gd name="connsiteY24" fmla="*/ 66453 h 597158"/>
              <a:gd name="connsiteX25" fmla="*/ 57326 w 621429"/>
              <a:gd name="connsiteY25" fmla="*/ 101051 h 597158"/>
              <a:gd name="connsiteX26" fmla="*/ 69215 w 621429"/>
              <a:gd name="connsiteY26" fmla="*/ 119340 h 597158"/>
              <a:gd name="connsiteX27" fmla="*/ 69215 w 621429"/>
              <a:gd name="connsiteY27" fmla="*/ 260171 h 597158"/>
              <a:gd name="connsiteX28" fmla="*/ 60832 w 621429"/>
              <a:gd name="connsiteY28" fmla="*/ 272059 h 597158"/>
              <a:gd name="connsiteX29" fmla="*/ 56108 w 621429"/>
              <a:gd name="connsiteY29" fmla="*/ 282880 h 597158"/>
              <a:gd name="connsiteX30" fmla="*/ 54126 w 621429"/>
              <a:gd name="connsiteY30" fmla="*/ 298122 h 597158"/>
              <a:gd name="connsiteX31" fmla="*/ 57326 w 621429"/>
              <a:gd name="connsiteY31" fmla="*/ 318088 h 597158"/>
              <a:gd name="connsiteX32" fmla="*/ 69215 w 621429"/>
              <a:gd name="connsiteY32" fmla="*/ 336378 h 597158"/>
              <a:gd name="connsiteX33" fmla="*/ 95582 w 621429"/>
              <a:gd name="connsiteY33" fmla="*/ 406336 h 597158"/>
              <a:gd name="connsiteX34" fmla="*/ 69215 w 621429"/>
              <a:gd name="connsiteY34" fmla="*/ 477208 h 597158"/>
              <a:gd name="connsiteX35" fmla="*/ 60832 w 621429"/>
              <a:gd name="connsiteY35" fmla="*/ 488639 h 597158"/>
              <a:gd name="connsiteX36" fmla="*/ 56108 w 621429"/>
              <a:gd name="connsiteY36" fmla="*/ 499461 h 597158"/>
              <a:gd name="connsiteX37" fmla="*/ 54126 w 621429"/>
              <a:gd name="connsiteY37" fmla="*/ 514702 h 597158"/>
              <a:gd name="connsiteX38" fmla="*/ 57326 w 621429"/>
              <a:gd name="connsiteY38" fmla="*/ 534516 h 597158"/>
              <a:gd name="connsiteX39" fmla="*/ 69215 w 621429"/>
              <a:gd name="connsiteY39" fmla="*/ 552501 h 597158"/>
              <a:gd name="connsiteX40" fmla="*/ 200596 w 621429"/>
              <a:gd name="connsiteY40" fmla="*/ 552501 h 597158"/>
              <a:gd name="connsiteX41" fmla="*/ 223610 w 621429"/>
              <a:gd name="connsiteY41" fmla="*/ 595482 h 597158"/>
              <a:gd name="connsiteX42" fmla="*/ 165541 w 621429"/>
              <a:gd name="connsiteY42" fmla="*/ 595482 h 597158"/>
              <a:gd name="connsiteX43" fmla="*/ 157615 w 621429"/>
              <a:gd name="connsiteY43" fmla="*/ 585270 h 597158"/>
              <a:gd name="connsiteX44" fmla="*/ 131248 w 621429"/>
              <a:gd name="connsiteY44" fmla="*/ 514397 h 597158"/>
              <a:gd name="connsiteX45" fmla="*/ 157615 w 621429"/>
              <a:gd name="connsiteY45" fmla="*/ 444439 h 597158"/>
              <a:gd name="connsiteX46" fmla="*/ 164321 w 621429"/>
              <a:gd name="connsiteY46" fmla="*/ 435142 h 597158"/>
              <a:gd name="connsiteX47" fmla="*/ 168741 w 621429"/>
              <a:gd name="connsiteY47" fmla="*/ 427674 h 597158"/>
              <a:gd name="connsiteX48" fmla="*/ 171942 w 621429"/>
              <a:gd name="connsiteY48" fmla="*/ 418072 h 597158"/>
              <a:gd name="connsiteX49" fmla="*/ 172704 w 621429"/>
              <a:gd name="connsiteY49" fmla="*/ 406183 h 597158"/>
              <a:gd name="connsiteX50" fmla="*/ 169504 w 621429"/>
              <a:gd name="connsiteY50" fmla="*/ 387131 h 597158"/>
              <a:gd name="connsiteX51" fmla="*/ 157615 w 621429"/>
              <a:gd name="connsiteY51" fmla="*/ 368842 h 597158"/>
              <a:gd name="connsiteX52" fmla="*/ 131248 w 621429"/>
              <a:gd name="connsiteY52" fmla="*/ 297970 h 597158"/>
              <a:gd name="connsiteX53" fmla="*/ 157615 w 621429"/>
              <a:gd name="connsiteY53" fmla="*/ 228012 h 597158"/>
              <a:gd name="connsiteX54" fmla="*/ 164321 w 621429"/>
              <a:gd name="connsiteY54" fmla="*/ 218867 h 597158"/>
              <a:gd name="connsiteX55" fmla="*/ 168741 w 621429"/>
              <a:gd name="connsiteY55" fmla="*/ 211246 h 597158"/>
              <a:gd name="connsiteX56" fmla="*/ 171942 w 621429"/>
              <a:gd name="connsiteY56" fmla="*/ 201796 h 597158"/>
              <a:gd name="connsiteX57" fmla="*/ 172704 w 621429"/>
              <a:gd name="connsiteY57" fmla="*/ 189756 h 597158"/>
              <a:gd name="connsiteX58" fmla="*/ 169504 w 621429"/>
              <a:gd name="connsiteY58" fmla="*/ 170704 h 597158"/>
              <a:gd name="connsiteX59" fmla="*/ 157615 w 621429"/>
              <a:gd name="connsiteY59" fmla="*/ 152414 h 597158"/>
              <a:gd name="connsiteX60" fmla="*/ 157615 w 621429"/>
              <a:gd name="connsiteY60" fmla="*/ 11584 h 597158"/>
              <a:gd name="connsiteX61" fmla="*/ 165541 w 621429"/>
              <a:gd name="connsiteY61" fmla="*/ 457 h 597158"/>
              <a:gd name="connsiteX62" fmla="*/ 224372 w 621429"/>
              <a:gd name="connsiteY62" fmla="*/ 457 h 597158"/>
              <a:gd name="connsiteX63" fmla="*/ 200596 w 621429"/>
              <a:gd name="connsiteY63" fmla="*/ 44200 h 597158"/>
              <a:gd name="connsiteX64" fmla="*/ 192518 w 621429"/>
              <a:gd name="connsiteY64" fmla="*/ 56089 h 597158"/>
              <a:gd name="connsiteX65" fmla="*/ 188250 w 621429"/>
              <a:gd name="connsiteY65" fmla="*/ 66910 h 597158"/>
              <a:gd name="connsiteX66" fmla="*/ 189317 w 621429"/>
              <a:gd name="connsiteY66" fmla="*/ 101508 h 597158"/>
              <a:gd name="connsiteX67" fmla="*/ 200596 w 621429"/>
              <a:gd name="connsiteY67" fmla="*/ 119798 h 597158"/>
              <a:gd name="connsiteX68" fmla="*/ 200596 w 621429"/>
              <a:gd name="connsiteY68" fmla="*/ 260628 h 597158"/>
              <a:gd name="connsiteX69" fmla="*/ 192518 w 621429"/>
              <a:gd name="connsiteY69" fmla="*/ 272516 h 597158"/>
              <a:gd name="connsiteX70" fmla="*/ 188250 w 621429"/>
              <a:gd name="connsiteY70" fmla="*/ 283338 h 597158"/>
              <a:gd name="connsiteX71" fmla="*/ 186269 w 621429"/>
              <a:gd name="connsiteY71" fmla="*/ 298579 h 597158"/>
              <a:gd name="connsiteX72" fmla="*/ 188250 w 621429"/>
              <a:gd name="connsiteY72" fmla="*/ 313820 h 597158"/>
              <a:gd name="connsiteX73" fmla="*/ 192518 w 621429"/>
              <a:gd name="connsiteY73" fmla="*/ 324490 h 597158"/>
              <a:gd name="connsiteX74" fmla="*/ 200596 w 621429"/>
              <a:gd name="connsiteY74" fmla="*/ 336530 h 597158"/>
              <a:gd name="connsiteX75" fmla="*/ 227573 w 621429"/>
              <a:gd name="connsiteY75" fmla="*/ 406488 h 597158"/>
              <a:gd name="connsiteX76" fmla="*/ 200596 w 621429"/>
              <a:gd name="connsiteY76" fmla="*/ 477361 h 597158"/>
              <a:gd name="connsiteX77" fmla="*/ 192518 w 621429"/>
              <a:gd name="connsiteY77" fmla="*/ 488792 h 597158"/>
              <a:gd name="connsiteX78" fmla="*/ 188250 w 621429"/>
              <a:gd name="connsiteY78" fmla="*/ 499613 h 597158"/>
              <a:gd name="connsiteX79" fmla="*/ 186269 w 621429"/>
              <a:gd name="connsiteY79" fmla="*/ 514854 h 597158"/>
              <a:gd name="connsiteX80" fmla="*/ 189317 w 621429"/>
              <a:gd name="connsiteY80" fmla="*/ 534669 h 597158"/>
              <a:gd name="connsiteX81" fmla="*/ 200596 w 621429"/>
              <a:gd name="connsiteY81" fmla="*/ 552501 h 597158"/>
              <a:gd name="connsiteX82" fmla="*/ 332586 w 621429"/>
              <a:gd name="connsiteY82" fmla="*/ 552501 h 597158"/>
              <a:gd name="connsiteX83" fmla="*/ 355601 w 621429"/>
              <a:gd name="connsiteY83" fmla="*/ 595482 h 597158"/>
              <a:gd name="connsiteX84" fmla="*/ 296769 w 621429"/>
              <a:gd name="connsiteY84" fmla="*/ 595482 h 597158"/>
              <a:gd name="connsiteX85" fmla="*/ 289606 w 621429"/>
              <a:gd name="connsiteY85" fmla="*/ 585270 h 597158"/>
              <a:gd name="connsiteX86" fmla="*/ 263390 w 621429"/>
              <a:gd name="connsiteY86" fmla="*/ 514397 h 597158"/>
              <a:gd name="connsiteX87" fmla="*/ 289606 w 621429"/>
              <a:gd name="connsiteY87" fmla="*/ 444439 h 597158"/>
              <a:gd name="connsiteX88" fmla="*/ 297989 w 621429"/>
              <a:gd name="connsiteY88" fmla="*/ 432398 h 597158"/>
              <a:gd name="connsiteX89" fmla="*/ 302713 w 621429"/>
              <a:gd name="connsiteY89" fmla="*/ 421730 h 597158"/>
              <a:gd name="connsiteX90" fmla="*/ 304695 w 621429"/>
              <a:gd name="connsiteY90" fmla="*/ 406488 h 597158"/>
              <a:gd name="connsiteX91" fmla="*/ 301494 w 621429"/>
              <a:gd name="connsiteY91" fmla="*/ 387437 h 597158"/>
              <a:gd name="connsiteX92" fmla="*/ 289606 w 621429"/>
              <a:gd name="connsiteY92" fmla="*/ 369147 h 597158"/>
              <a:gd name="connsiteX93" fmla="*/ 263390 w 621429"/>
              <a:gd name="connsiteY93" fmla="*/ 298274 h 597158"/>
              <a:gd name="connsiteX94" fmla="*/ 289606 w 621429"/>
              <a:gd name="connsiteY94" fmla="*/ 228316 h 597158"/>
              <a:gd name="connsiteX95" fmla="*/ 297989 w 621429"/>
              <a:gd name="connsiteY95" fmla="*/ 216428 h 597158"/>
              <a:gd name="connsiteX96" fmla="*/ 302713 w 621429"/>
              <a:gd name="connsiteY96" fmla="*/ 205607 h 597158"/>
              <a:gd name="connsiteX97" fmla="*/ 304695 w 621429"/>
              <a:gd name="connsiteY97" fmla="*/ 190365 h 597158"/>
              <a:gd name="connsiteX98" fmla="*/ 301494 w 621429"/>
              <a:gd name="connsiteY98" fmla="*/ 171314 h 597158"/>
              <a:gd name="connsiteX99" fmla="*/ 289606 w 621429"/>
              <a:gd name="connsiteY99" fmla="*/ 153024 h 597158"/>
              <a:gd name="connsiteX100" fmla="*/ 289606 w 621429"/>
              <a:gd name="connsiteY100" fmla="*/ 12193 h 597158"/>
              <a:gd name="connsiteX101" fmla="*/ 297531 w 621429"/>
              <a:gd name="connsiteY101" fmla="*/ 1067 h 597158"/>
              <a:gd name="connsiteX102" fmla="*/ 355906 w 621429"/>
              <a:gd name="connsiteY102" fmla="*/ 1067 h 597158"/>
              <a:gd name="connsiteX103" fmla="*/ 332891 w 621429"/>
              <a:gd name="connsiteY103" fmla="*/ 44810 h 597158"/>
              <a:gd name="connsiteX104" fmla="*/ 324508 w 621429"/>
              <a:gd name="connsiteY104" fmla="*/ 56698 h 597158"/>
              <a:gd name="connsiteX105" fmla="*/ 319784 w 621429"/>
              <a:gd name="connsiteY105" fmla="*/ 67520 h 597158"/>
              <a:gd name="connsiteX106" fmla="*/ 321003 w 621429"/>
              <a:gd name="connsiteY106" fmla="*/ 102118 h 597158"/>
              <a:gd name="connsiteX107" fmla="*/ 332891 w 621429"/>
              <a:gd name="connsiteY107" fmla="*/ 120407 h 597158"/>
              <a:gd name="connsiteX108" fmla="*/ 332891 w 621429"/>
              <a:gd name="connsiteY108" fmla="*/ 261238 h 597158"/>
              <a:gd name="connsiteX109" fmla="*/ 324508 w 621429"/>
              <a:gd name="connsiteY109" fmla="*/ 273126 h 597158"/>
              <a:gd name="connsiteX110" fmla="*/ 319784 w 621429"/>
              <a:gd name="connsiteY110" fmla="*/ 283947 h 597158"/>
              <a:gd name="connsiteX111" fmla="*/ 317802 w 621429"/>
              <a:gd name="connsiteY111" fmla="*/ 299189 h 597158"/>
              <a:gd name="connsiteX112" fmla="*/ 319784 w 621429"/>
              <a:gd name="connsiteY112" fmla="*/ 314430 h 597158"/>
              <a:gd name="connsiteX113" fmla="*/ 324508 w 621429"/>
              <a:gd name="connsiteY113" fmla="*/ 325099 h 597158"/>
              <a:gd name="connsiteX114" fmla="*/ 332891 w 621429"/>
              <a:gd name="connsiteY114" fmla="*/ 337140 h 597158"/>
              <a:gd name="connsiteX115" fmla="*/ 359107 w 621429"/>
              <a:gd name="connsiteY115" fmla="*/ 407098 h 597158"/>
              <a:gd name="connsiteX116" fmla="*/ 332891 w 621429"/>
              <a:gd name="connsiteY116" fmla="*/ 477971 h 597158"/>
              <a:gd name="connsiteX117" fmla="*/ 326185 w 621429"/>
              <a:gd name="connsiteY117" fmla="*/ 486658 h 597158"/>
              <a:gd name="connsiteX118" fmla="*/ 321765 w 621429"/>
              <a:gd name="connsiteY118" fmla="*/ 494584 h 597158"/>
              <a:gd name="connsiteX119" fmla="*/ 318564 w 621429"/>
              <a:gd name="connsiteY119" fmla="*/ 504186 h 597158"/>
              <a:gd name="connsiteX120" fmla="*/ 318564 w 621429"/>
              <a:gd name="connsiteY120" fmla="*/ 515312 h 597158"/>
              <a:gd name="connsiteX121" fmla="*/ 321765 w 621429"/>
              <a:gd name="connsiteY121" fmla="*/ 535126 h 597158"/>
              <a:gd name="connsiteX122" fmla="*/ 332586 w 621429"/>
              <a:gd name="connsiteY122" fmla="*/ 552501 h 597158"/>
              <a:gd name="connsiteX123" fmla="*/ 464729 w 621429"/>
              <a:gd name="connsiteY123" fmla="*/ 552501 h 597158"/>
              <a:gd name="connsiteX124" fmla="*/ 486981 w 621429"/>
              <a:gd name="connsiteY124" fmla="*/ 595482 h 597158"/>
              <a:gd name="connsiteX125" fmla="*/ 428912 w 621429"/>
              <a:gd name="connsiteY125" fmla="*/ 595482 h 597158"/>
              <a:gd name="connsiteX126" fmla="*/ 420834 w 621429"/>
              <a:gd name="connsiteY126" fmla="*/ 585270 h 597158"/>
              <a:gd name="connsiteX127" fmla="*/ 394618 w 621429"/>
              <a:gd name="connsiteY127" fmla="*/ 514397 h 597158"/>
              <a:gd name="connsiteX128" fmla="*/ 420834 w 621429"/>
              <a:gd name="connsiteY128" fmla="*/ 444439 h 597158"/>
              <a:gd name="connsiteX129" fmla="*/ 427693 w 621429"/>
              <a:gd name="connsiteY129" fmla="*/ 435142 h 597158"/>
              <a:gd name="connsiteX130" fmla="*/ 431960 w 621429"/>
              <a:gd name="connsiteY130" fmla="*/ 427674 h 597158"/>
              <a:gd name="connsiteX131" fmla="*/ 435161 w 621429"/>
              <a:gd name="connsiteY131" fmla="*/ 418072 h 597158"/>
              <a:gd name="connsiteX132" fmla="*/ 436076 w 621429"/>
              <a:gd name="connsiteY132" fmla="*/ 406183 h 597158"/>
              <a:gd name="connsiteX133" fmla="*/ 432875 w 621429"/>
              <a:gd name="connsiteY133" fmla="*/ 387131 h 597158"/>
              <a:gd name="connsiteX134" fmla="*/ 420834 w 621429"/>
              <a:gd name="connsiteY134" fmla="*/ 368842 h 597158"/>
              <a:gd name="connsiteX135" fmla="*/ 394618 w 621429"/>
              <a:gd name="connsiteY135" fmla="*/ 297970 h 597158"/>
              <a:gd name="connsiteX136" fmla="*/ 420834 w 621429"/>
              <a:gd name="connsiteY136" fmla="*/ 228012 h 597158"/>
              <a:gd name="connsiteX137" fmla="*/ 427693 w 621429"/>
              <a:gd name="connsiteY137" fmla="*/ 218867 h 597158"/>
              <a:gd name="connsiteX138" fmla="*/ 431960 w 621429"/>
              <a:gd name="connsiteY138" fmla="*/ 211246 h 597158"/>
              <a:gd name="connsiteX139" fmla="*/ 435161 w 621429"/>
              <a:gd name="connsiteY139" fmla="*/ 201796 h 597158"/>
              <a:gd name="connsiteX140" fmla="*/ 436076 w 621429"/>
              <a:gd name="connsiteY140" fmla="*/ 189756 h 597158"/>
              <a:gd name="connsiteX141" fmla="*/ 432875 w 621429"/>
              <a:gd name="connsiteY141" fmla="*/ 170704 h 597158"/>
              <a:gd name="connsiteX142" fmla="*/ 420834 w 621429"/>
              <a:gd name="connsiteY142" fmla="*/ 152414 h 597158"/>
              <a:gd name="connsiteX143" fmla="*/ 420834 w 621429"/>
              <a:gd name="connsiteY143" fmla="*/ 11584 h 597158"/>
              <a:gd name="connsiteX144" fmla="*/ 428912 w 621429"/>
              <a:gd name="connsiteY144" fmla="*/ 457 h 597158"/>
              <a:gd name="connsiteX145" fmla="*/ 486981 w 621429"/>
              <a:gd name="connsiteY145" fmla="*/ 457 h 597158"/>
              <a:gd name="connsiteX146" fmla="*/ 464729 w 621429"/>
              <a:gd name="connsiteY146" fmla="*/ 44200 h 597158"/>
              <a:gd name="connsiteX147" fmla="*/ 455889 w 621429"/>
              <a:gd name="connsiteY147" fmla="*/ 56089 h 597158"/>
              <a:gd name="connsiteX148" fmla="*/ 451164 w 621429"/>
              <a:gd name="connsiteY148" fmla="*/ 66910 h 597158"/>
              <a:gd name="connsiteX149" fmla="*/ 448726 w 621429"/>
              <a:gd name="connsiteY149" fmla="*/ 82151 h 597158"/>
              <a:gd name="connsiteX150" fmla="*/ 452384 w 621429"/>
              <a:gd name="connsiteY150" fmla="*/ 102118 h 597158"/>
              <a:gd name="connsiteX151" fmla="*/ 464729 w 621429"/>
              <a:gd name="connsiteY151" fmla="*/ 120407 h 597158"/>
              <a:gd name="connsiteX152" fmla="*/ 464729 w 621429"/>
              <a:gd name="connsiteY152" fmla="*/ 261238 h 597158"/>
              <a:gd name="connsiteX153" fmla="*/ 455889 w 621429"/>
              <a:gd name="connsiteY153" fmla="*/ 273126 h 597158"/>
              <a:gd name="connsiteX154" fmla="*/ 451164 w 621429"/>
              <a:gd name="connsiteY154" fmla="*/ 283947 h 597158"/>
              <a:gd name="connsiteX155" fmla="*/ 448726 w 621429"/>
              <a:gd name="connsiteY155" fmla="*/ 299189 h 597158"/>
              <a:gd name="connsiteX156" fmla="*/ 449945 w 621429"/>
              <a:gd name="connsiteY156" fmla="*/ 310772 h 597158"/>
              <a:gd name="connsiteX157" fmla="*/ 453451 w 621429"/>
              <a:gd name="connsiteY157" fmla="*/ 320679 h 597158"/>
              <a:gd name="connsiteX158" fmla="*/ 457871 w 621429"/>
              <a:gd name="connsiteY158" fmla="*/ 328300 h 597158"/>
              <a:gd name="connsiteX159" fmla="*/ 464729 w 621429"/>
              <a:gd name="connsiteY159" fmla="*/ 337445 h 597158"/>
              <a:gd name="connsiteX160" fmla="*/ 490182 w 621429"/>
              <a:gd name="connsiteY160" fmla="*/ 407403 h 597158"/>
              <a:gd name="connsiteX161" fmla="*/ 464729 w 621429"/>
              <a:gd name="connsiteY161" fmla="*/ 478275 h 597158"/>
              <a:gd name="connsiteX162" fmla="*/ 457871 w 621429"/>
              <a:gd name="connsiteY162" fmla="*/ 486963 h 597158"/>
              <a:gd name="connsiteX163" fmla="*/ 453451 w 621429"/>
              <a:gd name="connsiteY163" fmla="*/ 494888 h 597158"/>
              <a:gd name="connsiteX164" fmla="*/ 449945 w 621429"/>
              <a:gd name="connsiteY164" fmla="*/ 504490 h 597158"/>
              <a:gd name="connsiteX165" fmla="*/ 448726 w 621429"/>
              <a:gd name="connsiteY165" fmla="*/ 515617 h 597158"/>
              <a:gd name="connsiteX166" fmla="*/ 451164 w 621429"/>
              <a:gd name="connsiteY166" fmla="*/ 530858 h 597158"/>
              <a:gd name="connsiteX167" fmla="*/ 455889 w 621429"/>
              <a:gd name="connsiteY167" fmla="*/ 541527 h 597158"/>
              <a:gd name="connsiteX168" fmla="*/ 464729 w 621429"/>
              <a:gd name="connsiteY168" fmla="*/ 552501 h 597158"/>
              <a:gd name="connsiteX169" fmla="*/ 618972 w 621429"/>
              <a:gd name="connsiteY169" fmla="*/ 457 h 597158"/>
              <a:gd name="connsiteX170" fmla="*/ 595958 w 621429"/>
              <a:gd name="connsiteY170" fmla="*/ 44200 h 597158"/>
              <a:gd name="connsiteX171" fmla="*/ 587575 w 621429"/>
              <a:gd name="connsiteY171" fmla="*/ 56089 h 597158"/>
              <a:gd name="connsiteX172" fmla="*/ 582850 w 621429"/>
              <a:gd name="connsiteY172" fmla="*/ 66910 h 597158"/>
              <a:gd name="connsiteX173" fmla="*/ 580869 w 621429"/>
              <a:gd name="connsiteY173" fmla="*/ 82151 h 597158"/>
              <a:gd name="connsiteX174" fmla="*/ 580869 w 621429"/>
              <a:gd name="connsiteY174" fmla="*/ 94192 h 597158"/>
              <a:gd name="connsiteX175" fmla="*/ 584069 w 621429"/>
              <a:gd name="connsiteY175" fmla="*/ 103642 h 597158"/>
              <a:gd name="connsiteX176" fmla="*/ 588337 w 621429"/>
              <a:gd name="connsiteY176" fmla="*/ 111263 h 597158"/>
              <a:gd name="connsiteX177" fmla="*/ 595196 w 621429"/>
              <a:gd name="connsiteY177" fmla="*/ 120407 h 597158"/>
              <a:gd name="connsiteX178" fmla="*/ 595196 w 621429"/>
              <a:gd name="connsiteY178" fmla="*/ 261238 h 597158"/>
              <a:gd name="connsiteX179" fmla="*/ 586813 w 621429"/>
              <a:gd name="connsiteY179" fmla="*/ 273126 h 597158"/>
              <a:gd name="connsiteX180" fmla="*/ 582088 w 621429"/>
              <a:gd name="connsiteY180" fmla="*/ 283947 h 597158"/>
              <a:gd name="connsiteX181" fmla="*/ 580107 w 621429"/>
              <a:gd name="connsiteY181" fmla="*/ 299189 h 597158"/>
              <a:gd name="connsiteX182" fmla="*/ 583307 w 621429"/>
              <a:gd name="connsiteY182" fmla="*/ 319155 h 597158"/>
              <a:gd name="connsiteX183" fmla="*/ 595196 w 621429"/>
              <a:gd name="connsiteY183" fmla="*/ 337445 h 597158"/>
              <a:gd name="connsiteX184" fmla="*/ 621411 w 621429"/>
              <a:gd name="connsiteY184" fmla="*/ 407403 h 597158"/>
              <a:gd name="connsiteX185" fmla="*/ 595196 w 621429"/>
              <a:gd name="connsiteY185" fmla="*/ 478275 h 597158"/>
              <a:gd name="connsiteX186" fmla="*/ 586813 w 621429"/>
              <a:gd name="connsiteY186" fmla="*/ 490163 h 597158"/>
              <a:gd name="connsiteX187" fmla="*/ 582088 w 621429"/>
              <a:gd name="connsiteY187" fmla="*/ 500833 h 597158"/>
              <a:gd name="connsiteX188" fmla="*/ 580107 w 621429"/>
              <a:gd name="connsiteY188" fmla="*/ 516074 h 597158"/>
              <a:gd name="connsiteX189" fmla="*/ 583307 w 621429"/>
              <a:gd name="connsiteY189" fmla="*/ 535888 h 597158"/>
              <a:gd name="connsiteX190" fmla="*/ 595196 w 621429"/>
              <a:gd name="connsiteY190" fmla="*/ 554178 h 597158"/>
              <a:gd name="connsiteX191" fmla="*/ 618210 w 621429"/>
              <a:gd name="connsiteY191" fmla="*/ 597158 h 597158"/>
              <a:gd name="connsiteX192" fmla="*/ 560141 w 621429"/>
              <a:gd name="connsiteY192" fmla="*/ 597158 h 597158"/>
              <a:gd name="connsiteX193" fmla="*/ 552977 w 621429"/>
              <a:gd name="connsiteY193" fmla="*/ 586946 h 597158"/>
              <a:gd name="connsiteX194" fmla="*/ 526762 w 621429"/>
              <a:gd name="connsiteY194" fmla="*/ 516074 h 597158"/>
              <a:gd name="connsiteX195" fmla="*/ 552977 w 621429"/>
              <a:gd name="connsiteY195" fmla="*/ 446116 h 597158"/>
              <a:gd name="connsiteX196" fmla="*/ 561359 w 621429"/>
              <a:gd name="connsiteY196" fmla="*/ 434075 h 597158"/>
              <a:gd name="connsiteX197" fmla="*/ 566084 w 621429"/>
              <a:gd name="connsiteY197" fmla="*/ 423406 h 597158"/>
              <a:gd name="connsiteX198" fmla="*/ 566084 w 621429"/>
              <a:gd name="connsiteY198" fmla="*/ 392923 h 597158"/>
              <a:gd name="connsiteX199" fmla="*/ 561359 w 621429"/>
              <a:gd name="connsiteY199" fmla="*/ 382255 h 597158"/>
              <a:gd name="connsiteX200" fmla="*/ 552977 w 621429"/>
              <a:gd name="connsiteY200" fmla="*/ 370366 h 597158"/>
              <a:gd name="connsiteX201" fmla="*/ 526762 w 621429"/>
              <a:gd name="connsiteY201" fmla="*/ 299493 h 597158"/>
              <a:gd name="connsiteX202" fmla="*/ 552977 w 621429"/>
              <a:gd name="connsiteY202" fmla="*/ 229535 h 597158"/>
              <a:gd name="connsiteX203" fmla="*/ 561359 w 621429"/>
              <a:gd name="connsiteY203" fmla="*/ 217647 h 597158"/>
              <a:gd name="connsiteX204" fmla="*/ 566084 w 621429"/>
              <a:gd name="connsiteY204" fmla="*/ 206826 h 597158"/>
              <a:gd name="connsiteX205" fmla="*/ 568066 w 621429"/>
              <a:gd name="connsiteY205" fmla="*/ 191585 h 597158"/>
              <a:gd name="connsiteX206" fmla="*/ 564866 w 621429"/>
              <a:gd name="connsiteY206" fmla="*/ 172533 h 597158"/>
              <a:gd name="connsiteX207" fmla="*/ 552977 w 621429"/>
              <a:gd name="connsiteY207" fmla="*/ 154243 h 597158"/>
              <a:gd name="connsiteX208" fmla="*/ 552977 w 621429"/>
              <a:gd name="connsiteY208" fmla="*/ 13413 h 597158"/>
              <a:gd name="connsiteX209" fmla="*/ 560903 w 621429"/>
              <a:gd name="connsiteY209" fmla="*/ 2286 h 5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621429" h="597158">
                <a:moveTo>
                  <a:pt x="69215" y="552501"/>
                </a:moveTo>
                <a:cubicBezTo>
                  <a:pt x="79915" y="565014"/>
                  <a:pt x="87809" y="579661"/>
                  <a:pt x="92382" y="595482"/>
                </a:cubicBezTo>
                <a:lnTo>
                  <a:pt x="33398" y="595482"/>
                </a:lnTo>
                <a:cubicBezTo>
                  <a:pt x="31340" y="591854"/>
                  <a:pt x="28947" y="588440"/>
                  <a:pt x="26234" y="585270"/>
                </a:cubicBezTo>
                <a:cubicBezTo>
                  <a:pt x="9834" y="565228"/>
                  <a:pt x="598" y="540292"/>
                  <a:pt x="19" y="514397"/>
                </a:cubicBezTo>
                <a:cubicBezTo>
                  <a:pt x="674" y="488807"/>
                  <a:pt x="9911" y="464162"/>
                  <a:pt x="26234" y="444439"/>
                </a:cubicBezTo>
                <a:lnTo>
                  <a:pt x="34617" y="432398"/>
                </a:lnTo>
                <a:cubicBezTo>
                  <a:pt x="36781" y="429137"/>
                  <a:pt x="38381" y="425525"/>
                  <a:pt x="39341" y="421730"/>
                </a:cubicBezTo>
                <a:cubicBezTo>
                  <a:pt x="42208" y="411777"/>
                  <a:pt x="42208" y="401199"/>
                  <a:pt x="39341" y="391247"/>
                </a:cubicBezTo>
                <a:cubicBezTo>
                  <a:pt x="38381" y="387452"/>
                  <a:pt x="36781" y="383840"/>
                  <a:pt x="34617" y="380578"/>
                </a:cubicBezTo>
                <a:lnTo>
                  <a:pt x="26234" y="368690"/>
                </a:lnTo>
                <a:cubicBezTo>
                  <a:pt x="9834" y="348647"/>
                  <a:pt x="598" y="323712"/>
                  <a:pt x="19" y="297817"/>
                </a:cubicBezTo>
                <a:cubicBezTo>
                  <a:pt x="705" y="272227"/>
                  <a:pt x="9926" y="247596"/>
                  <a:pt x="26234" y="227859"/>
                </a:cubicBezTo>
                <a:lnTo>
                  <a:pt x="34617" y="215971"/>
                </a:lnTo>
                <a:cubicBezTo>
                  <a:pt x="36781" y="212648"/>
                  <a:pt x="38367" y="208990"/>
                  <a:pt x="39341" y="205150"/>
                </a:cubicBezTo>
                <a:cubicBezTo>
                  <a:pt x="40805" y="200211"/>
                  <a:pt x="41537" y="195060"/>
                  <a:pt x="41475" y="189908"/>
                </a:cubicBezTo>
                <a:cubicBezTo>
                  <a:pt x="41537" y="184756"/>
                  <a:pt x="40821" y="179605"/>
                  <a:pt x="39341" y="174667"/>
                </a:cubicBezTo>
                <a:cubicBezTo>
                  <a:pt x="38367" y="170826"/>
                  <a:pt x="36781" y="167168"/>
                  <a:pt x="34617" y="163845"/>
                </a:cubicBezTo>
                <a:lnTo>
                  <a:pt x="26234" y="151957"/>
                </a:lnTo>
                <a:cubicBezTo>
                  <a:pt x="-8745" y="111537"/>
                  <a:pt x="-8745" y="51547"/>
                  <a:pt x="26234" y="11126"/>
                </a:cubicBezTo>
                <a:cubicBezTo>
                  <a:pt x="30044" y="5792"/>
                  <a:pt x="32635" y="2134"/>
                  <a:pt x="34312" y="0"/>
                </a:cubicBezTo>
                <a:lnTo>
                  <a:pt x="92382" y="0"/>
                </a:lnTo>
                <a:cubicBezTo>
                  <a:pt x="87734" y="16019"/>
                  <a:pt x="79853" y="30894"/>
                  <a:pt x="69215" y="43743"/>
                </a:cubicBezTo>
                <a:cubicBezTo>
                  <a:pt x="65557" y="49077"/>
                  <a:pt x="62814" y="53040"/>
                  <a:pt x="60832" y="55631"/>
                </a:cubicBezTo>
                <a:cubicBezTo>
                  <a:pt x="58729" y="58984"/>
                  <a:pt x="57144" y="62627"/>
                  <a:pt x="56108" y="66453"/>
                </a:cubicBezTo>
                <a:cubicBezTo>
                  <a:pt x="53090" y="77853"/>
                  <a:pt x="53516" y="89894"/>
                  <a:pt x="57326" y="101051"/>
                </a:cubicBezTo>
                <a:cubicBezTo>
                  <a:pt x="60603" y="107559"/>
                  <a:pt x="64597" y="113701"/>
                  <a:pt x="69215" y="119340"/>
                </a:cubicBezTo>
                <a:cubicBezTo>
                  <a:pt x="104606" y="159624"/>
                  <a:pt x="104606" y="219888"/>
                  <a:pt x="69215" y="260171"/>
                </a:cubicBezTo>
                <a:cubicBezTo>
                  <a:pt x="65557" y="265505"/>
                  <a:pt x="62814" y="269468"/>
                  <a:pt x="60832" y="272059"/>
                </a:cubicBezTo>
                <a:cubicBezTo>
                  <a:pt x="58729" y="275412"/>
                  <a:pt x="57144" y="279055"/>
                  <a:pt x="56108" y="282880"/>
                </a:cubicBezTo>
                <a:cubicBezTo>
                  <a:pt x="54659" y="287819"/>
                  <a:pt x="53988" y="292970"/>
                  <a:pt x="54126" y="298122"/>
                </a:cubicBezTo>
                <a:cubicBezTo>
                  <a:pt x="53837" y="304920"/>
                  <a:pt x="54919" y="311717"/>
                  <a:pt x="57326" y="318088"/>
                </a:cubicBezTo>
                <a:cubicBezTo>
                  <a:pt x="60603" y="324596"/>
                  <a:pt x="64597" y="330739"/>
                  <a:pt x="69215" y="336378"/>
                </a:cubicBezTo>
                <a:cubicBezTo>
                  <a:pt x="85645" y="356055"/>
                  <a:pt x="94942" y="380715"/>
                  <a:pt x="95582" y="406336"/>
                </a:cubicBezTo>
                <a:cubicBezTo>
                  <a:pt x="95004" y="432246"/>
                  <a:pt x="85721" y="457212"/>
                  <a:pt x="69215" y="477208"/>
                </a:cubicBezTo>
                <a:cubicBezTo>
                  <a:pt x="65557" y="482390"/>
                  <a:pt x="62814" y="486353"/>
                  <a:pt x="60832" y="488639"/>
                </a:cubicBezTo>
                <a:cubicBezTo>
                  <a:pt x="58622" y="491931"/>
                  <a:pt x="57022" y="495605"/>
                  <a:pt x="56108" y="499461"/>
                </a:cubicBezTo>
                <a:cubicBezTo>
                  <a:pt x="54721" y="504414"/>
                  <a:pt x="54050" y="509551"/>
                  <a:pt x="54126" y="514702"/>
                </a:cubicBezTo>
                <a:cubicBezTo>
                  <a:pt x="53821" y="521454"/>
                  <a:pt x="54903" y="528206"/>
                  <a:pt x="57326" y="534516"/>
                </a:cubicBezTo>
                <a:cubicBezTo>
                  <a:pt x="60558" y="540963"/>
                  <a:pt x="64551" y="546999"/>
                  <a:pt x="69215" y="552501"/>
                </a:cubicBezTo>
                <a:close/>
                <a:moveTo>
                  <a:pt x="200596" y="552501"/>
                </a:moveTo>
                <a:cubicBezTo>
                  <a:pt x="211249" y="565014"/>
                  <a:pt x="219099" y="579677"/>
                  <a:pt x="223610" y="595482"/>
                </a:cubicBezTo>
                <a:lnTo>
                  <a:pt x="165541" y="595482"/>
                </a:lnTo>
                <a:lnTo>
                  <a:pt x="157615" y="585270"/>
                </a:lnTo>
                <a:cubicBezTo>
                  <a:pt x="141108" y="565273"/>
                  <a:pt x="131826" y="540308"/>
                  <a:pt x="131248" y="514397"/>
                </a:cubicBezTo>
                <a:cubicBezTo>
                  <a:pt x="131888" y="488776"/>
                  <a:pt x="141185" y="464116"/>
                  <a:pt x="157615" y="444439"/>
                </a:cubicBezTo>
                <a:cubicBezTo>
                  <a:pt x="160816" y="440172"/>
                  <a:pt x="162950" y="437124"/>
                  <a:pt x="164321" y="435142"/>
                </a:cubicBezTo>
                <a:cubicBezTo>
                  <a:pt x="165983" y="432765"/>
                  <a:pt x="167461" y="430265"/>
                  <a:pt x="168741" y="427674"/>
                </a:cubicBezTo>
                <a:cubicBezTo>
                  <a:pt x="170220" y="424626"/>
                  <a:pt x="171287" y="421394"/>
                  <a:pt x="171942" y="418072"/>
                </a:cubicBezTo>
                <a:cubicBezTo>
                  <a:pt x="172476" y="414139"/>
                  <a:pt x="172734" y="410161"/>
                  <a:pt x="172704" y="406183"/>
                </a:cubicBezTo>
                <a:cubicBezTo>
                  <a:pt x="172963" y="399676"/>
                  <a:pt x="171881" y="393198"/>
                  <a:pt x="169504" y="387131"/>
                </a:cubicBezTo>
                <a:cubicBezTo>
                  <a:pt x="166303" y="380578"/>
                  <a:pt x="162309" y="374436"/>
                  <a:pt x="157615" y="368842"/>
                </a:cubicBezTo>
                <a:cubicBezTo>
                  <a:pt x="141108" y="348845"/>
                  <a:pt x="131826" y="323880"/>
                  <a:pt x="131248" y="297970"/>
                </a:cubicBezTo>
                <a:cubicBezTo>
                  <a:pt x="131918" y="272349"/>
                  <a:pt x="141200" y="247703"/>
                  <a:pt x="157615" y="228012"/>
                </a:cubicBezTo>
                <a:lnTo>
                  <a:pt x="164321" y="218867"/>
                </a:lnTo>
                <a:cubicBezTo>
                  <a:pt x="165983" y="216443"/>
                  <a:pt x="167446" y="213883"/>
                  <a:pt x="168741" y="211246"/>
                </a:cubicBezTo>
                <a:cubicBezTo>
                  <a:pt x="170189" y="208243"/>
                  <a:pt x="171271" y="205073"/>
                  <a:pt x="171942" y="201796"/>
                </a:cubicBezTo>
                <a:cubicBezTo>
                  <a:pt x="172476" y="197803"/>
                  <a:pt x="172734" y="193779"/>
                  <a:pt x="172704" y="189756"/>
                </a:cubicBezTo>
                <a:cubicBezTo>
                  <a:pt x="172963" y="183248"/>
                  <a:pt x="171881" y="176770"/>
                  <a:pt x="169504" y="170704"/>
                </a:cubicBezTo>
                <a:cubicBezTo>
                  <a:pt x="166226" y="164196"/>
                  <a:pt x="162234" y="158053"/>
                  <a:pt x="157615" y="152414"/>
                </a:cubicBezTo>
                <a:cubicBezTo>
                  <a:pt x="122225" y="112131"/>
                  <a:pt x="122225" y="51867"/>
                  <a:pt x="157615" y="11584"/>
                </a:cubicBezTo>
                <a:cubicBezTo>
                  <a:pt x="160527" y="8078"/>
                  <a:pt x="163178" y="4359"/>
                  <a:pt x="165541" y="457"/>
                </a:cubicBezTo>
                <a:lnTo>
                  <a:pt x="224372" y="457"/>
                </a:lnTo>
                <a:cubicBezTo>
                  <a:pt x="219297" y="16415"/>
                  <a:pt x="211219" y="31260"/>
                  <a:pt x="200596" y="44200"/>
                </a:cubicBezTo>
                <a:cubicBezTo>
                  <a:pt x="196785" y="49535"/>
                  <a:pt x="194195" y="53497"/>
                  <a:pt x="192518" y="56089"/>
                </a:cubicBezTo>
                <a:cubicBezTo>
                  <a:pt x="190659" y="59503"/>
                  <a:pt x="189226" y="63145"/>
                  <a:pt x="188250" y="66910"/>
                </a:cubicBezTo>
                <a:cubicBezTo>
                  <a:pt x="185263" y="78310"/>
                  <a:pt x="185629" y="90320"/>
                  <a:pt x="189317" y="101508"/>
                </a:cubicBezTo>
                <a:cubicBezTo>
                  <a:pt x="192518" y="107940"/>
                  <a:pt x="196282" y="114051"/>
                  <a:pt x="200596" y="119798"/>
                </a:cubicBezTo>
                <a:cubicBezTo>
                  <a:pt x="236596" y="159837"/>
                  <a:pt x="236596" y="220589"/>
                  <a:pt x="200596" y="260628"/>
                </a:cubicBezTo>
                <a:cubicBezTo>
                  <a:pt x="196785" y="265963"/>
                  <a:pt x="194195" y="269926"/>
                  <a:pt x="192518" y="272516"/>
                </a:cubicBezTo>
                <a:cubicBezTo>
                  <a:pt x="190659" y="275930"/>
                  <a:pt x="189226" y="279573"/>
                  <a:pt x="188250" y="283338"/>
                </a:cubicBezTo>
                <a:cubicBezTo>
                  <a:pt x="186818" y="288291"/>
                  <a:pt x="186162" y="293428"/>
                  <a:pt x="186269" y="298579"/>
                </a:cubicBezTo>
                <a:cubicBezTo>
                  <a:pt x="186178" y="303731"/>
                  <a:pt x="186848" y="308867"/>
                  <a:pt x="188250" y="313820"/>
                </a:cubicBezTo>
                <a:cubicBezTo>
                  <a:pt x="189180" y="317555"/>
                  <a:pt x="190628" y="321136"/>
                  <a:pt x="192518" y="324490"/>
                </a:cubicBezTo>
                <a:cubicBezTo>
                  <a:pt x="194195" y="327233"/>
                  <a:pt x="196785" y="331196"/>
                  <a:pt x="200596" y="336530"/>
                </a:cubicBezTo>
                <a:cubicBezTo>
                  <a:pt x="217377" y="356039"/>
                  <a:pt x="226903" y="380761"/>
                  <a:pt x="227573" y="406488"/>
                </a:cubicBezTo>
                <a:cubicBezTo>
                  <a:pt x="226963" y="432505"/>
                  <a:pt x="217437" y="457532"/>
                  <a:pt x="200596" y="477361"/>
                </a:cubicBezTo>
                <a:cubicBezTo>
                  <a:pt x="196785" y="482543"/>
                  <a:pt x="194195" y="486506"/>
                  <a:pt x="192518" y="488792"/>
                </a:cubicBezTo>
                <a:cubicBezTo>
                  <a:pt x="190552" y="492160"/>
                  <a:pt x="189104" y="495803"/>
                  <a:pt x="188250" y="499613"/>
                </a:cubicBezTo>
                <a:cubicBezTo>
                  <a:pt x="186863" y="504567"/>
                  <a:pt x="186192" y="509703"/>
                  <a:pt x="186269" y="514854"/>
                </a:cubicBezTo>
                <a:cubicBezTo>
                  <a:pt x="185918" y="521591"/>
                  <a:pt x="186954" y="528343"/>
                  <a:pt x="189317" y="534669"/>
                </a:cubicBezTo>
                <a:cubicBezTo>
                  <a:pt x="192472" y="540979"/>
                  <a:pt x="196252" y="546953"/>
                  <a:pt x="200596" y="552501"/>
                </a:cubicBezTo>
                <a:close/>
                <a:moveTo>
                  <a:pt x="332586" y="552501"/>
                </a:moveTo>
                <a:cubicBezTo>
                  <a:pt x="343240" y="565014"/>
                  <a:pt x="351090" y="579677"/>
                  <a:pt x="355601" y="595482"/>
                </a:cubicBezTo>
                <a:lnTo>
                  <a:pt x="296769" y="595482"/>
                </a:lnTo>
                <a:cubicBezTo>
                  <a:pt x="294651" y="591885"/>
                  <a:pt x="292257" y="588471"/>
                  <a:pt x="289606" y="585270"/>
                </a:cubicBezTo>
                <a:cubicBezTo>
                  <a:pt x="273145" y="565273"/>
                  <a:pt x="263908" y="540292"/>
                  <a:pt x="263390" y="514397"/>
                </a:cubicBezTo>
                <a:cubicBezTo>
                  <a:pt x="263970" y="488792"/>
                  <a:pt x="273221" y="464131"/>
                  <a:pt x="289606" y="444439"/>
                </a:cubicBezTo>
                <a:lnTo>
                  <a:pt x="297989" y="432398"/>
                </a:lnTo>
                <a:cubicBezTo>
                  <a:pt x="300152" y="429137"/>
                  <a:pt x="301753" y="425525"/>
                  <a:pt x="302713" y="421730"/>
                </a:cubicBezTo>
                <a:cubicBezTo>
                  <a:pt x="304100" y="416776"/>
                  <a:pt x="304755" y="411640"/>
                  <a:pt x="304695" y="406488"/>
                </a:cubicBezTo>
                <a:cubicBezTo>
                  <a:pt x="304953" y="399980"/>
                  <a:pt x="303871" y="393503"/>
                  <a:pt x="301494" y="387437"/>
                </a:cubicBezTo>
                <a:cubicBezTo>
                  <a:pt x="298339" y="380852"/>
                  <a:pt x="294346" y="374695"/>
                  <a:pt x="289606" y="369147"/>
                </a:cubicBezTo>
                <a:cubicBezTo>
                  <a:pt x="273145" y="349150"/>
                  <a:pt x="263908" y="324170"/>
                  <a:pt x="263390" y="298274"/>
                </a:cubicBezTo>
                <a:cubicBezTo>
                  <a:pt x="264000" y="272669"/>
                  <a:pt x="273236" y="248023"/>
                  <a:pt x="289606" y="228316"/>
                </a:cubicBezTo>
                <a:lnTo>
                  <a:pt x="297989" y="216428"/>
                </a:lnTo>
                <a:cubicBezTo>
                  <a:pt x="300152" y="213105"/>
                  <a:pt x="301737" y="209447"/>
                  <a:pt x="302713" y="205607"/>
                </a:cubicBezTo>
                <a:cubicBezTo>
                  <a:pt x="304115" y="200653"/>
                  <a:pt x="304786" y="195517"/>
                  <a:pt x="304695" y="190365"/>
                </a:cubicBezTo>
                <a:cubicBezTo>
                  <a:pt x="304953" y="183857"/>
                  <a:pt x="303871" y="177379"/>
                  <a:pt x="301494" y="171314"/>
                </a:cubicBezTo>
                <a:cubicBezTo>
                  <a:pt x="298278" y="164760"/>
                  <a:pt x="294284" y="158617"/>
                  <a:pt x="289606" y="153024"/>
                </a:cubicBezTo>
                <a:cubicBezTo>
                  <a:pt x="254626" y="112603"/>
                  <a:pt x="254626" y="52613"/>
                  <a:pt x="289606" y="12193"/>
                </a:cubicBezTo>
                <a:cubicBezTo>
                  <a:pt x="293264" y="6859"/>
                  <a:pt x="296007" y="3201"/>
                  <a:pt x="297531" y="1067"/>
                </a:cubicBezTo>
                <a:lnTo>
                  <a:pt x="355906" y="1067"/>
                </a:lnTo>
                <a:cubicBezTo>
                  <a:pt x="351333" y="17086"/>
                  <a:pt x="343499" y="31977"/>
                  <a:pt x="332891" y="44810"/>
                </a:cubicBezTo>
                <a:lnTo>
                  <a:pt x="324508" y="56698"/>
                </a:lnTo>
                <a:cubicBezTo>
                  <a:pt x="322405" y="60051"/>
                  <a:pt x="320820" y="63694"/>
                  <a:pt x="319784" y="67520"/>
                </a:cubicBezTo>
                <a:cubicBezTo>
                  <a:pt x="316766" y="78920"/>
                  <a:pt x="317193" y="90961"/>
                  <a:pt x="321003" y="102118"/>
                </a:cubicBezTo>
                <a:cubicBezTo>
                  <a:pt x="324280" y="108626"/>
                  <a:pt x="328273" y="114768"/>
                  <a:pt x="332891" y="120407"/>
                </a:cubicBezTo>
                <a:cubicBezTo>
                  <a:pt x="367870" y="160827"/>
                  <a:pt x="367870" y="220818"/>
                  <a:pt x="332891" y="261238"/>
                </a:cubicBezTo>
                <a:lnTo>
                  <a:pt x="324508" y="273126"/>
                </a:lnTo>
                <a:cubicBezTo>
                  <a:pt x="322405" y="276479"/>
                  <a:pt x="320820" y="280122"/>
                  <a:pt x="319784" y="283947"/>
                </a:cubicBezTo>
                <a:cubicBezTo>
                  <a:pt x="318351" y="288901"/>
                  <a:pt x="317695" y="294037"/>
                  <a:pt x="317802" y="299189"/>
                </a:cubicBezTo>
                <a:cubicBezTo>
                  <a:pt x="317711" y="304341"/>
                  <a:pt x="318382" y="309477"/>
                  <a:pt x="319784" y="314430"/>
                </a:cubicBezTo>
                <a:cubicBezTo>
                  <a:pt x="320789" y="318210"/>
                  <a:pt x="322374" y="321807"/>
                  <a:pt x="324508" y="325099"/>
                </a:cubicBezTo>
                <a:lnTo>
                  <a:pt x="332891" y="337140"/>
                </a:lnTo>
                <a:cubicBezTo>
                  <a:pt x="349276" y="356832"/>
                  <a:pt x="358527" y="381492"/>
                  <a:pt x="359107" y="407098"/>
                </a:cubicBezTo>
                <a:cubicBezTo>
                  <a:pt x="358589" y="432993"/>
                  <a:pt x="349352" y="457974"/>
                  <a:pt x="332891" y="477971"/>
                </a:cubicBezTo>
                <a:cubicBezTo>
                  <a:pt x="330391" y="480653"/>
                  <a:pt x="328151" y="483564"/>
                  <a:pt x="326185" y="486658"/>
                </a:cubicBezTo>
                <a:cubicBezTo>
                  <a:pt x="324539" y="489203"/>
                  <a:pt x="323060" y="491855"/>
                  <a:pt x="321765" y="494584"/>
                </a:cubicBezTo>
                <a:cubicBezTo>
                  <a:pt x="320225" y="497601"/>
                  <a:pt x="319144" y="500848"/>
                  <a:pt x="318564" y="504186"/>
                </a:cubicBezTo>
                <a:cubicBezTo>
                  <a:pt x="318305" y="507889"/>
                  <a:pt x="318305" y="511608"/>
                  <a:pt x="318564" y="515312"/>
                </a:cubicBezTo>
                <a:cubicBezTo>
                  <a:pt x="318260" y="522064"/>
                  <a:pt x="319342" y="528816"/>
                  <a:pt x="321765" y="535126"/>
                </a:cubicBezTo>
                <a:cubicBezTo>
                  <a:pt x="324692" y="541314"/>
                  <a:pt x="328334" y="547136"/>
                  <a:pt x="332586" y="552501"/>
                </a:cubicBezTo>
                <a:close/>
                <a:moveTo>
                  <a:pt x="464729" y="552501"/>
                </a:moveTo>
                <a:cubicBezTo>
                  <a:pt x="474972" y="565182"/>
                  <a:pt x="482531" y="579798"/>
                  <a:pt x="486981" y="595482"/>
                </a:cubicBezTo>
                <a:lnTo>
                  <a:pt x="428912" y="595482"/>
                </a:lnTo>
                <a:lnTo>
                  <a:pt x="420834" y="585270"/>
                </a:lnTo>
                <a:cubicBezTo>
                  <a:pt x="404435" y="565228"/>
                  <a:pt x="395198" y="540292"/>
                  <a:pt x="394618" y="514397"/>
                </a:cubicBezTo>
                <a:cubicBezTo>
                  <a:pt x="395274" y="488807"/>
                  <a:pt x="404511" y="464162"/>
                  <a:pt x="420834" y="444439"/>
                </a:cubicBezTo>
                <a:lnTo>
                  <a:pt x="427693" y="435142"/>
                </a:lnTo>
                <a:cubicBezTo>
                  <a:pt x="429293" y="432765"/>
                  <a:pt x="430726" y="430265"/>
                  <a:pt x="431960" y="427674"/>
                </a:cubicBezTo>
                <a:cubicBezTo>
                  <a:pt x="433560" y="424671"/>
                  <a:pt x="434643" y="421425"/>
                  <a:pt x="435161" y="418072"/>
                </a:cubicBezTo>
                <a:cubicBezTo>
                  <a:pt x="435832" y="414139"/>
                  <a:pt x="436136" y="410161"/>
                  <a:pt x="436076" y="406183"/>
                </a:cubicBezTo>
                <a:cubicBezTo>
                  <a:pt x="436334" y="399676"/>
                  <a:pt x="435252" y="393198"/>
                  <a:pt x="432875" y="387131"/>
                </a:cubicBezTo>
                <a:cubicBezTo>
                  <a:pt x="429659" y="380548"/>
                  <a:pt x="425619" y="374390"/>
                  <a:pt x="420834" y="368842"/>
                </a:cubicBezTo>
                <a:cubicBezTo>
                  <a:pt x="404435" y="348800"/>
                  <a:pt x="395198" y="323865"/>
                  <a:pt x="394618" y="297970"/>
                </a:cubicBezTo>
                <a:cubicBezTo>
                  <a:pt x="395305" y="272379"/>
                  <a:pt x="404526" y="247749"/>
                  <a:pt x="420834" y="228012"/>
                </a:cubicBezTo>
                <a:lnTo>
                  <a:pt x="427693" y="218867"/>
                </a:lnTo>
                <a:cubicBezTo>
                  <a:pt x="429293" y="216428"/>
                  <a:pt x="430726" y="213883"/>
                  <a:pt x="431960" y="211246"/>
                </a:cubicBezTo>
                <a:cubicBezTo>
                  <a:pt x="433545" y="208289"/>
                  <a:pt x="434627" y="205104"/>
                  <a:pt x="435161" y="201796"/>
                </a:cubicBezTo>
                <a:cubicBezTo>
                  <a:pt x="435832" y="197818"/>
                  <a:pt x="436136" y="193794"/>
                  <a:pt x="436076" y="189756"/>
                </a:cubicBezTo>
                <a:cubicBezTo>
                  <a:pt x="436334" y="183248"/>
                  <a:pt x="435252" y="176770"/>
                  <a:pt x="432875" y="170704"/>
                </a:cubicBezTo>
                <a:cubicBezTo>
                  <a:pt x="429598" y="164150"/>
                  <a:pt x="425543" y="158023"/>
                  <a:pt x="420834" y="152414"/>
                </a:cubicBezTo>
                <a:cubicBezTo>
                  <a:pt x="385855" y="111994"/>
                  <a:pt x="385855" y="52004"/>
                  <a:pt x="420834" y="11584"/>
                </a:cubicBezTo>
                <a:cubicBezTo>
                  <a:pt x="423821" y="8109"/>
                  <a:pt x="426534" y="4375"/>
                  <a:pt x="428912" y="457"/>
                </a:cubicBezTo>
                <a:lnTo>
                  <a:pt x="486981" y="457"/>
                </a:lnTo>
                <a:cubicBezTo>
                  <a:pt x="482470" y="16339"/>
                  <a:pt x="474910" y="31199"/>
                  <a:pt x="464729" y="44200"/>
                </a:cubicBezTo>
                <a:cubicBezTo>
                  <a:pt x="460461" y="49535"/>
                  <a:pt x="457566" y="53497"/>
                  <a:pt x="455889" y="56089"/>
                </a:cubicBezTo>
                <a:cubicBezTo>
                  <a:pt x="453984" y="59533"/>
                  <a:pt x="452399" y="63161"/>
                  <a:pt x="451164" y="66910"/>
                </a:cubicBezTo>
                <a:cubicBezTo>
                  <a:pt x="449412" y="71787"/>
                  <a:pt x="448588" y="76969"/>
                  <a:pt x="448726" y="82151"/>
                </a:cubicBezTo>
                <a:cubicBezTo>
                  <a:pt x="448390" y="88995"/>
                  <a:pt x="449641" y="95838"/>
                  <a:pt x="452384" y="102118"/>
                </a:cubicBezTo>
                <a:cubicBezTo>
                  <a:pt x="455858" y="108626"/>
                  <a:pt x="459989" y="114753"/>
                  <a:pt x="464729" y="120407"/>
                </a:cubicBezTo>
                <a:cubicBezTo>
                  <a:pt x="498641" y="161224"/>
                  <a:pt x="498641" y="220421"/>
                  <a:pt x="464729" y="261238"/>
                </a:cubicBezTo>
                <a:cubicBezTo>
                  <a:pt x="460461" y="266572"/>
                  <a:pt x="457566" y="270535"/>
                  <a:pt x="455889" y="273126"/>
                </a:cubicBezTo>
                <a:cubicBezTo>
                  <a:pt x="453984" y="276570"/>
                  <a:pt x="452399" y="280198"/>
                  <a:pt x="451164" y="283947"/>
                </a:cubicBezTo>
                <a:cubicBezTo>
                  <a:pt x="449396" y="288825"/>
                  <a:pt x="448574" y="294007"/>
                  <a:pt x="448726" y="299189"/>
                </a:cubicBezTo>
                <a:cubicBezTo>
                  <a:pt x="448710" y="303075"/>
                  <a:pt x="449122" y="306962"/>
                  <a:pt x="449945" y="310772"/>
                </a:cubicBezTo>
                <a:cubicBezTo>
                  <a:pt x="450753" y="314186"/>
                  <a:pt x="451926" y="317509"/>
                  <a:pt x="453451" y="320679"/>
                </a:cubicBezTo>
                <a:cubicBezTo>
                  <a:pt x="454777" y="323301"/>
                  <a:pt x="456240" y="325846"/>
                  <a:pt x="457871" y="328300"/>
                </a:cubicBezTo>
                <a:lnTo>
                  <a:pt x="464729" y="337445"/>
                </a:lnTo>
                <a:cubicBezTo>
                  <a:pt x="480671" y="357335"/>
                  <a:pt x="489619" y="381919"/>
                  <a:pt x="490182" y="407403"/>
                </a:cubicBezTo>
                <a:cubicBezTo>
                  <a:pt x="489679" y="433176"/>
                  <a:pt x="480733" y="458065"/>
                  <a:pt x="464729" y="478275"/>
                </a:cubicBezTo>
                <a:cubicBezTo>
                  <a:pt x="462245" y="481019"/>
                  <a:pt x="459959" y="483914"/>
                  <a:pt x="457871" y="486963"/>
                </a:cubicBezTo>
                <a:cubicBezTo>
                  <a:pt x="456499" y="489096"/>
                  <a:pt x="455127" y="491688"/>
                  <a:pt x="453451" y="494888"/>
                </a:cubicBezTo>
                <a:cubicBezTo>
                  <a:pt x="451957" y="497952"/>
                  <a:pt x="450768" y="501183"/>
                  <a:pt x="449945" y="504490"/>
                </a:cubicBezTo>
                <a:cubicBezTo>
                  <a:pt x="449107" y="508133"/>
                  <a:pt x="448695" y="511867"/>
                  <a:pt x="448726" y="515617"/>
                </a:cubicBezTo>
                <a:cubicBezTo>
                  <a:pt x="448665" y="520799"/>
                  <a:pt x="449488" y="525950"/>
                  <a:pt x="451164" y="530858"/>
                </a:cubicBezTo>
                <a:cubicBezTo>
                  <a:pt x="452399" y="534562"/>
                  <a:pt x="453984" y="538128"/>
                  <a:pt x="455889" y="541527"/>
                </a:cubicBezTo>
                <a:cubicBezTo>
                  <a:pt x="458602" y="545368"/>
                  <a:pt x="461559" y="549026"/>
                  <a:pt x="464729" y="552501"/>
                </a:cubicBezTo>
                <a:close/>
                <a:moveTo>
                  <a:pt x="618972" y="457"/>
                </a:moveTo>
                <a:cubicBezTo>
                  <a:pt x="614400" y="16476"/>
                  <a:pt x="606565" y="31367"/>
                  <a:pt x="595958" y="44200"/>
                </a:cubicBezTo>
                <a:lnTo>
                  <a:pt x="587575" y="56089"/>
                </a:lnTo>
                <a:cubicBezTo>
                  <a:pt x="585410" y="59411"/>
                  <a:pt x="583825" y="63069"/>
                  <a:pt x="582850" y="66910"/>
                </a:cubicBezTo>
                <a:cubicBezTo>
                  <a:pt x="581402" y="71863"/>
                  <a:pt x="580747" y="77000"/>
                  <a:pt x="580869" y="82151"/>
                </a:cubicBezTo>
                <a:cubicBezTo>
                  <a:pt x="580503" y="86160"/>
                  <a:pt x="580503" y="90184"/>
                  <a:pt x="580869" y="94192"/>
                </a:cubicBezTo>
                <a:cubicBezTo>
                  <a:pt x="581387" y="97499"/>
                  <a:pt x="582469" y="100700"/>
                  <a:pt x="584069" y="103642"/>
                </a:cubicBezTo>
                <a:cubicBezTo>
                  <a:pt x="585319" y="106279"/>
                  <a:pt x="586737" y="108824"/>
                  <a:pt x="588337" y="111263"/>
                </a:cubicBezTo>
                <a:lnTo>
                  <a:pt x="595196" y="120407"/>
                </a:lnTo>
                <a:cubicBezTo>
                  <a:pt x="630175" y="160827"/>
                  <a:pt x="630175" y="220818"/>
                  <a:pt x="595196" y="261238"/>
                </a:cubicBezTo>
                <a:lnTo>
                  <a:pt x="586813" y="273126"/>
                </a:lnTo>
                <a:cubicBezTo>
                  <a:pt x="584649" y="276449"/>
                  <a:pt x="583063" y="280107"/>
                  <a:pt x="582088" y="283947"/>
                </a:cubicBezTo>
                <a:cubicBezTo>
                  <a:pt x="580640" y="288886"/>
                  <a:pt x="579969" y="294037"/>
                  <a:pt x="580107" y="299189"/>
                </a:cubicBezTo>
                <a:cubicBezTo>
                  <a:pt x="579817" y="305987"/>
                  <a:pt x="580900" y="312784"/>
                  <a:pt x="583307" y="319155"/>
                </a:cubicBezTo>
                <a:cubicBezTo>
                  <a:pt x="586523" y="325709"/>
                  <a:pt x="590517" y="331851"/>
                  <a:pt x="595196" y="337445"/>
                </a:cubicBezTo>
                <a:cubicBezTo>
                  <a:pt x="611581" y="357137"/>
                  <a:pt x="620832" y="381797"/>
                  <a:pt x="621411" y="407403"/>
                </a:cubicBezTo>
                <a:cubicBezTo>
                  <a:pt x="620892" y="433298"/>
                  <a:pt x="611657" y="458279"/>
                  <a:pt x="595196" y="478275"/>
                </a:cubicBezTo>
                <a:cubicBezTo>
                  <a:pt x="591385" y="483457"/>
                  <a:pt x="588642" y="487420"/>
                  <a:pt x="586813" y="490163"/>
                </a:cubicBezTo>
                <a:cubicBezTo>
                  <a:pt x="584649" y="493425"/>
                  <a:pt x="583048" y="497038"/>
                  <a:pt x="582088" y="500833"/>
                </a:cubicBezTo>
                <a:cubicBezTo>
                  <a:pt x="580655" y="505786"/>
                  <a:pt x="580000" y="510922"/>
                  <a:pt x="580107" y="516074"/>
                </a:cubicBezTo>
                <a:cubicBezTo>
                  <a:pt x="579802" y="522826"/>
                  <a:pt x="580884" y="529578"/>
                  <a:pt x="583307" y="535888"/>
                </a:cubicBezTo>
                <a:cubicBezTo>
                  <a:pt x="586463" y="542472"/>
                  <a:pt x="590455" y="548629"/>
                  <a:pt x="595196" y="554178"/>
                </a:cubicBezTo>
                <a:cubicBezTo>
                  <a:pt x="605453" y="566965"/>
                  <a:pt x="613257" y="581536"/>
                  <a:pt x="618210" y="597158"/>
                </a:cubicBezTo>
                <a:lnTo>
                  <a:pt x="560141" y="597158"/>
                </a:lnTo>
                <a:cubicBezTo>
                  <a:pt x="558022" y="593576"/>
                  <a:pt x="555629" y="590147"/>
                  <a:pt x="552977" y="586946"/>
                </a:cubicBezTo>
                <a:cubicBezTo>
                  <a:pt x="536516" y="566950"/>
                  <a:pt x="527280" y="541969"/>
                  <a:pt x="526762" y="516074"/>
                </a:cubicBezTo>
                <a:cubicBezTo>
                  <a:pt x="527341" y="490469"/>
                  <a:pt x="536592" y="465808"/>
                  <a:pt x="552977" y="446116"/>
                </a:cubicBezTo>
                <a:lnTo>
                  <a:pt x="561359" y="434075"/>
                </a:lnTo>
                <a:cubicBezTo>
                  <a:pt x="563463" y="430783"/>
                  <a:pt x="565048" y="427186"/>
                  <a:pt x="566084" y="423406"/>
                </a:cubicBezTo>
                <a:cubicBezTo>
                  <a:pt x="568752" y="413423"/>
                  <a:pt x="568752" y="402906"/>
                  <a:pt x="566084" y="392923"/>
                </a:cubicBezTo>
                <a:cubicBezTo>
                  <a:pt x="565048" y="389144"/>
                  <a:pt x="563463" y="385547"/>
                  <a:pt x="561359" y="382255"/>
                </a:cubicBezTo>
                <a:cubicBezTo>
                  <a:pt x="559378" y="379663"/>
                  <a:pt x="556635" y="375700"/>
                  <a:pt x="552977" y="370366"/>
                </a:cubicBezTo>
                <a:cubicBezTo>
                  <a:pt x="536516" y="350369"/>
                  <a:pt x="527280" y="325389"/>
                  <a:pt x="526762" y="299493"/>
                </a:cubicBezTo>
                <a:cubicBezTo>
                  <a:pt x="527371" y="273888"/>
                  <a:pt x="536608" y="249243"/>
                  <a:pt x="552977" y="229535"/>
                </a:cubicBezTo>
                <a:cubicBezTo>
                  <a:pt x="556635" y="224201"/>
                  <a:pt x="559378" y="220238"/>
                  <a:pt x="561359" y="217647"/>
                </a:cubicBezTo>
                <a:cubicBezTo>
                  <a:pt x="563463" y="214294"/>
                  <a:pt x="565048" y="210652"/>
                  <a:pt x="566084" y="206826"/>
                </a:cubicBezTo>
                <a:cubicBezTo>
                  <a:pt x="567487" y="201872"/>
                  <a:pt x="568158" y="196736"/>
                  <a:pt x="568066" y="191585"/>
                </a:cubicBezTo>
                <a:cubicBezTo>
                  <a:pt x="568325" y="185076"/>
                  <a:pt x="567243" y="178599"/>
                  <a:pt x="564866" y="172533"/>
                </a:cubicBezTo>
                <a:cubicBezTo>
                  <a:pt x="561588" y="166025"/>
                  <a:pt x="557595" y="159883"/>
                  <a:pt x="552977" y="154243"/>
                </a:cubicBezTo>
                <a:cubicBezTo>
                  <a:pt x="517998" y="113823"/>
                  <a:pt x="517998" y="53833"/>
                  <a:pt x="552977" y="13413"/>
                </a:cubicBezTo>
                <a:cubicBezTo>
                  <a:pt x="556635" y="8078"/>
                  <a:pt x="559378" y="4420"/>
                  <a:pt x="560903" y="2286"/>
                </a:cubicBezTo>
                <a:close/>
              </a:path>
            </a:pathLst>
          </a:custGeom>
          <a:solidFill>
            <a:srgbClr val="8FCAE7"/>
          </a:solidFill>
          <a:ln w="15240" cap="flat">
            <a:noFill/>
            <a:prstDash val="solid"/>
            <a:miter/>
          </a:ln>
        </p:spPr>
        <p:txBody>
          <a:bodyPr rtlCol="0" anchor="ctr"/>
          <a:lstStyle/>
          <a:p>
            <a:endParaRPr lang="nl-NL"/>
          </a:p>
        </p:txBody>
      </p:sp>
      <p:sp>
        <p:nvSpPr>
          <p:cNvPr id="13" name="Vrije vorm: vorm 12">
            <a:extLst>
              <a:ext uri="{FF2B5EF4-FFF2-40B4-BE49-F238E27FC236}">
                <a16:creationId xmlns:a16="http://schemas.microsoft.com/office/drawing/2014/main" id="{E3E1FBB0-A394-447C-949F-913C8E125824}"/>
              </a:ext>
            </a:extLst>
          </p:cNvPr>
          <p:cNvSpPr/>
          <p:nvPr userDrawn="1"/>
        </p:nvSpPr>
        <p:spPr>
          <a:xfrm>
            <a:off x="10214224" y="1512086"/>
            <a:ext cx="622051" cy="595035"/>
          </a:xfrm>
          <a:custGeom>
            <a:avLst/>
            <a:gdLst>
              <a:gd name="connsiteX0" fmla="*/ 16186 w 622051"/>
              <a:gd name="connsiteY0" fmla="*/ 16624 h 595035"/>
              <a:gd name="connsiteX1" fmla="*/ 92698 w 622051"/>
              <a:gd name="connsiteY1" fmla="*/ 16624 h 595035"/>
              <a:gd name="connsiteX2" fmla="*/ 108548 w 622051"/>
              <a:gd name="connsiteY2" fmla="*/ 54880 h 595035"/>
              <a:gd name="connsiteX3" fmla="*/ 30 w 622051"/>
              <a:gd name="connsiteY3" fmla="*/ 54880 h 595035"/>
              <a:gd name="connsiteX4" fmla="*/ 16186 w 622051"/>
              <a:gd name="connsiteY4" fmla="*/ 16624 h 595035"/>
              <a:gd name="connsiteX5" fmla="*/ 16186 w 622051"/>
              <a:gd name="connsiteY5" fmla="*/ 124838 h 595035"/>
              <a:gd name="connsiteX6" fmla="*/ 92698 w 622051"/>
              <a:gd name="connsiteY6" fmla="*/ 124838 h 595035"/>
              <a:gd name="connsiteX7" fmla="*/ 108548 w 622051"/>
              <a:gd name="connsiteY7" fmla="*/ 163094 h 595035"/>
              <a:gd name="connsiteX8" fmla="*/ 30 w 622051"/>
              <a:gd name="connsiteY8" fmla="*/ 163094 h 595035"/>
              <a:gd name="connsiteX9" fmla="*/ 16186 w 622051"/>
              <a:gd name="connsiteY9" fmla="*/ 124838 h 595035"/>
              <a:gd name="connsiteX10" fmla="*/ 16186 w 622051"/>
              <a:gd name="connsiteY10" fmla="*/ 233052 h 595035"/>
              <a:gd name="connsiteX11" fmla="*/ 92698 w 622051"/>
              <a:gd name="connsiteY11" fmla="*/ 233052 h 595035"/>
              <a:gd name="connsiteX12" fmla="*/ 108548 w 622051"/>
              <a:gd name="connsiteY12" fmla="*/ 271308 h 595035"/>
              <a:gd name="connsiteX13" fmla="*/ 30 w 622051"/>
              <a:gd name="connsiteY13" fmla="*/ 271308 h 595035"/>
              <a:gd name="connsiteX14" fmla="*/ 16186 w 622051"/>
              <a:gd name="connsiteY14" fmla="*/ 233052 h 595035"/>
              <a:gd name="connsiteX15" fmla="*/ 16186 w 622051"/>
              <a:gd name="connsiteY15" fmla="*/ 341266 h 595035"/>
              <a:gd name="connsiteX16" fmla="*/ 92393 w 622051"/>
              <a:gd name="connsiteY16" fmla="*/ 341266 h 595035"/>
              <a:gd name="connsiteX17" fmla="*/ 107634 w 622051"/>
              <a:gd name="connsiteY17" fmla="*/ 379522 h 595035"/>
              <a:gd name="connsiteX18" fmla="*/ 30 w 622051"/>
              <a:gd name="connsiteY18" fmla="*/ 379522 h 595035"/>
              <a:gd name="connsiteX19" fmla="*/ 16186 w 622051"/>
              <a:gd name="connsiteY19" fmla="*/ 341266 h 595035"/>
              <a:gd name="connsiteX20" fmla="*/ 54442 w 622051"/>
              <a:gd name="connsiteY20" fmla="*/ 433476 h 595035"/>
              <a:gd name="connsiteX21" fmla="*/ 75170 w 622051"/>
              <a:gd name="connsiteY21" fmla="*/ 437591 h 595035"/>
              <a:gd name="connsiteX22" fmla="*/ 92698 w 622051"/>
              <a:gd name="connsiteY22" fmla="*/ 449480 h 595035"/>
              <a:gd name="connsiteX23" fmla="*/ 103824 w 622051"/>
              <a:gd name="connsiteY23" fmla="*/ 466245 h 595035"/>
              <a:gd name="connsiteX24" fmla="*/ 108548 w 622051"/>
              <a:gd name="connsiteY24" fmla="*/ 487583 h 595035"/>
              <a:gd name="connsiteX25" fmla="*/ 30 w 622051"/>
              <a:gd name="connsiteY25" fmla="*/ 487583 h 595035"/>
              <a:gd name="connsiteX26" fmla="*/ 54137 w 622051"/>
              <a:gd name="connsiteY26" fmla="*/ 433476 h 595035"/>
              <a:gd name="connsiteX27" fmla="*/ 54442 w 622051"/>
              <a:gd name="connsiteY27" fmla="*/ 541691 h 595035"/>
              <a:gd name="connsiteX28" fmla="*/ 92698 w 622051"/>
              <a:gd name="connsiteY28" fmla="*/ 556932 h 595035"/>
              <a:gd name="connsiteX29" fmla="*/ 107939 w 622051"/>
              <a:gd name="connsiteY29" fmla="*/ 595035 h 595035"/>
              <a:gd name="connsiteX30" fmla="*/ 30 w 622051"/>
              <a:gd name="connsiteY30" fmla="*/ 595035 h 595035"/>
              <a:gd name="connsiteX31" fmla="*/ 15271 w 622051"/>
              <a:gd name="connsiteY31" fmla="*/ 556475 h 595035"/>
              <a:gd name="connsiteX32" fmla="*/ 54442 w 622051"/>
              <a:gd name="connsiteY32" fmla="*/ 541995 h 595035"/>
              <a:gd name="connsiteX33" fmla="*/ 182927 w 622051"/>
              <a:gd name="connsiteY33" fmla="*/ 773 h 595035"/>
              <a:gd name="connsiteX34" fmla="*/ 236881 w 622051"/>
              <a:gd name="connsiteY34" fmla="*/ 54880 h 595035"/>
              <a:gd name="connsiteX35" fmla="*/ 128820 w 622051"/>
              <a:gd name="connsiteY35" fmla="*/ 54880 h 595035"/>
              <a:gd name="connsiteX36" fmla="*/ 144061 w 622051"/>
              <a:gd name="connsiteY36" fmla="*/ 16624 h 595035"/>
              <a:gd name="connsiteX37" fmla="*/ 182927 w 622051"/>
              <a:gd name="connsiteY37" fmla="*/ 773 h 595035"/>
              <a:gd name="connsiteX38" fmla="*/ 182927 w 622051"/>
              <a:gd name="connsiteY38" fmla="*/ 108987 h 595035"/>
              <a:gd name="connsiteX39" fmla="*/ 236881 w 622051"/>
              <a:gd name="connsiteY39" fmla="*/ 163094 h 595035"/>
              <a:gd name="connsiteX40" fmla="*/ 128820 w 622051"/>
              <a:gd name="connsiteY40" fmla="*/ 163094 h 595035"/>
              <a:gd name="connsiteX41" fmla="*/ 144061 w 622051"/>
              <a:gd name="connsiteY41" fmla="*/ 124838 h 595035"/>
              <a:gd name="connsiteX42" fmla="*/ 182927 w 622051"/>
              <a:gd name="connsiteY42" fmla="*/ 108987 h 595035"/>
              <a:gd name="connsiteX43" fmla="*/ 182927 w 622051"/>
              <a:gd name="connsiteY43" fmla="*/ 217201 h 595035"/>
              <a:gd name="connsiteX44" fmla="*/ 236881 w 622051"/>
              <a:gd name="connsiteY44" fmla="*/ 271308 h 595035"/>
              <a:gd name="connsiteX45" fmla="*/ 128820 w 622051"/>
              <a:gd name="connsiteY45" fmla="*/ 271308 h 595035"/>
              <a:gd name="connsiteX46" fmla="*/ 144061 w 622051"/>
              <a:gd name="connsiteY46" fmla="*/ 233052 h 595035"/>
              <a:gd name="connsiteX47" fmla="*/ 182927 w 622051"/>
              <a:gd name="connsiteY47" fmla="*/ 217201 h 595035"/>
              <a:gd name="connsiteX48" fmla="*/ 182927 w 622051"/>
              <a:gd name="connsiteY48" fmla="*/ 325415 h 595035"/>
              <a:gd name="connsiteX49" fmla="*/ 236881 w 622051"/>
              <a:gd name="connsiteY49" fmla="*/ 379522 h 595035"/>
              <a:gd name="connsiteX50" fmla="*/ 128820 w 622051"/>
              <a:gd name="connsiteY50" fmla="*/ 379522 h 595035"/>
              <a:gd name="connsiteX51" fmla="*/ 144061 w 622051"/>
              <a:gd name="connsiteY51" fmla="*/ 341266 h 595035"/>
              <a:gd name="connsiteX52" fmla="*/ 182927 w 622051"/>
              <a:gd name="connsiteY52" fmla="*/ 325415 h 595035"/>
              <a:gd name="connsiteX53" fmla="*/ 182927 w 622051"/>
              <a:gd name="connsiteY53" fmla="*/ 433476 h 595035"/>
              <a:gd name="connsiteX54" fmla="*/ 203502 w 622051"/>
              <a:gd name="connsiteY54" fmla="*/ 437591 h 595035"/>
              <a:gd name="connsiteX55" fmla="*/ 220268 w 622051"/>
              <a:gd name="connsiteY55" fmla="*/ 449480 h 595035"/>
              <a:gd name="connsiteX56" fmla="*/ 236881 w 622051"/>
              <a:gd name="connsiteY56" fmla="*/ 487583 h 595035"/>
              <a:gd name="connsiteX57" fmla="*/ 128820 w 622051"/>
              <a:gd name="connsiteY57" fmla="*/ 487583 h 595035"/>
              <a:gd name="connsiteX58" fmla="*/ 144061 w 622051"/>
              <a:gd name="connsiteY58" fmla="*/ 449480 h 595035"/>
              <a:gd name="connsiteX59" fmla="*/ 182927 w 622051"/>
              <a:gd name="connsiteY59" fmla="*/ 433476 h 595035"/>
              <a:gd name="connsiteX60" fmla="*/ 182927 w 622051"/>
              <a:gd name="connsiteY60" fmla="*/ 541691 h 595035"/>
              <a:gd name="connsiteX61" fmla="*/ 221030 w 622051"/>
              <a:gd name="connsiteY61" fmla="*/ 556932 h 595035"/>
              <a:gd name="connsiteX62" fmla="*/ 236271 w 622051"/>
              <a:gd name="connsiteY62" fmla="*/ 595035 h 595035"/>
              <a:gd name="connsiteX63" fmla="*/ 128210 w 622051"/>
              <a:gd name="connsiteY63" fmla="*/ 595035 h 595035"/>
              <a:gd name="connsiteX64" fmla="*/ 180914 w 622051"/>
              <a:gd name="connsiteY64" fmla="*/ 541964 h 595035"/>
              <a:gd name="connsiteX65" fmla="*/ 182927 w 622051"/>
              <a:gd name="connsiteY65" fmla="*/ 541995 h 595035"/>
              <a:gd name="connsiteX66" fmla="*/ 272699 w 622051"/>
              <a:gd name="connsiteY66" fmla="*/ 16624 h 595035"/>
              <a:gd name="connsiteX67" fmla="*/ 349195 w 622051"/>
              <a:gd name="connsiteY67" fmla="*/ 15084 h 595035"/>
              <a:gd name="connsiteX68" fmla="*/ 365823 w 622051"/>
              <a:gd name="connsiteY68" fmla="*/ 54270 h 595035"/>
              <a:gd name="connsiteX69" fmla="*/ 257610 w 622051"/>
              <a:gd name="connsiteY69" fmla="*/ 54270 h 595035"/>
              <a:gd name="connsiteX70" fmla="*/ 273155 w 622051"/>
              <a:gd name="connsiteY70" fmla="*/ 16624 h 595035"/>
              <a:gd name="connsiteX71" fmla="*/ 272699 w 622051"/>
              <a:gd name="connsiteY71" fmla="*/ 124838 h 595035"/>
              <a:gd name="connsiteX72" fmla="*/ 349210 w 622051"/>
              <a:gd name="connsiteY72" fmla="*/ 124838 h 595035"/>
              <a:gd name="connsiteX73" fmla="*/ 365061 w 622051"/>
              <a:gd name="connsiteY73" fmla="*/ 163094 h 595035"/>
              <a:gd name="connsiteX74" fmla="*/ 256847 w 622051"/>
              <a:gd name="connsiteY74" fmla="*/ 163094 h 595035"/>
              <a:gd name="connsiteX75" fmla="*/ 273155 w 622051"/>
              <a:gd name="connsiteY75" fmla="*/ 124838 h 595035"/>
              <a:gd name="connsiteX76" fmla="*/ 272699 w 622051"/>
              <a:gd name="connsiteY76" fmla="*/ 233052 h 595035"/>
              <a:gd name="connsiteX77" fmla="*/ 349210 w 622051"/>
              <a:gd name="connsiteY77" fmla="*/ 233052 h 595035"/>
              <a:gd name="connsiteX78" fmla="*/ 365061 w 622051"/>
              <a:gd name="connsiteY78" fmla="*/ 271308 h 595035"/>
              <a:gd name="connsiteX79" fmla="*/ 256847 w 622051"/>
              <a:gd name="connsiteY79" fmla="*/ 271308 h 595035"/>
              <a:gd name="connsiteX80" fmla="*/ 273155 w 622051"/>
              <a:gd name="connsiteY80" fmla="*/ 233052 h 595035"/>
              <a:gd name="connsiteX81" fmla="*/ 272699 w 622051"/>
              <a:gd name="connsiteY81" fmla="*/ 341266 h 595035"/>
              <a:gd name="connsiteX82" fmla="*/ 349210 w 622051"/>
              <a:gd name="connsiteY82" fmla="*/ 341266 h 595035"/>
              <a:gd name="connsiteX83" fmla="*/ 365061 w 622051"/>
              <a:gd name="connsiteY83" fmla="*/ 379522 h 595035"/>
              <a:gd name="connsiteX84" fmla="*/ 256847 w 622051"/>
              <a:gd name="connsiteY84" fmla="*/ 379522 h 595035"/>
              <a:gd name="connsiteX85" fmla="*/ 273155 w 622051"/>
              <a:gd name="connsiteY85" fmla="*/ 341266 h 595035"/>
              <a:gd name="connsiteX86" fmla="*/ 310955 w 622051"/>
              <a:gd name="connsiteY86" fmla="*/ 433476 h 595035"/>
              <a:gd name="connsiteX87" fmla="*/ 331683 w 622051"/>
              <a:gd name="connsiteY87" fmla="*/ 437591 h 595035"/>
              <a:gd name="connsiteX88" fmla="*/ 349210 w 622051"/>
              <a:gd name="connsiteY88" fmla="*/ 449480 h 595035"/>
              <a:gd name="connsiteX89" fmla="*/ 361099 w 622051"/>
              <a:gd name="connsiteY89" fmla="*/ 466245 h 595035"/>
              <a:gd name="connsiteX90" fmla="*/ 365061 w 622051"/>
              <a:gd name="connsiteY90" fmla="*/ 487583 h 595035"/>
              <a:gd name="connsiteX91" fmla="*/ 256847 w 622051"/>
              <a:gd name="connsiteY91" fmla="*/ 487583 h 595035"/>
              <a:gd name="connsiteX92" fmla="*/ 310955 w 622051"/>
              <a:gd name="connsiteY92" fmla="*/ 433476 h 595035"/>
              <a:gd name="connsiteX93" fmla="*/ 310955 w 622051"/>
              <a:gd name="connsiteY93" fmla="*/ 541691 h 595035"/>
              <a:gd name="connsiteX94" fmla="*/ 349210 w 622051"/>
              <a:gd name="connsiteY94" fmla="*/ 556932 h 595035"/>
              <a:gd name="connsiteX95" fmla="*/ 364451 w 622051"/>
              <a:gd name="connsiteY95" fmla="*/ 592749 h 595035"/>
              <a:gd name="connsiteX96" fmla="*/ 364451 w 622051"/>
              <a:gd name="connsiteY96" fmla="*/ 595035 h 595035"/>
              <a:gd name="connsiteX97" fmla="*/ 256238 w 622051"/>
              <a:gd name="connsiteY97" fmla="*/ 595035 h 595035"/>
              <a:gd name="connsiteX98" fmla="*/ 271479 w 622051"/>
              <a:gd name="connsiteY98" fmla="*/ 556475 h 595035"/>
              <a:gd name="connsiteX99" fmla="*/ 311411 w 622051"/>
              <a:gd name="connsiteY99" fmla="*/ 541995 h 595035"/>
              <a:gd name="connsiteX100" fmla="*/ 438982 w 622051"/>
              <a:gd name="connsiteY100" fmla="*/ 773 h 595035"/>
              <a:gd name="connsiteX101" fmla="*/ 478000 w 622051"/>
              <a:gd name="connsiteY101" fmla="*/ 16014 h 595035"/>
              <a:gd name="connsiteX102" fmla="*/ 493241 w 622051"/>
              <a:gd name="connsiteY102" fmla="*/ 54270 h 595035"/>
              <a:gd name="connsiteX103" fmla="*/ 385028 w 622051"/>
              <a:gd name="connsiteY103" fmla="*/ 54270 h 595035"/>
              <a:gd name="connsiteX104" fmla="*/ 439134 w 622051"/>
              <a:gd name="connsiteY104" fmla="*/ 164 h 595035"/>
              <a:gd name="connsiteX105" fmla="*/ 438982 w 622051"/>
              <a:gd name="connsiteY105" fmla="*/ 108987 h 595035"/>
              <a:gd name="connsiteX106" fmla="*/ 478000 w 622051"/>
              <a:gd name="connsiteY106" fmla="*/ 124228 h 595035"/>
              <a:gd name="connsiteX107" fmla="*/ 493241 w 622051"/>
              <a:gd name="connsiteY107" fmla="*/ 162484 h 595035"/>
              <a:gd name="connsiteX108" fmla="*/ 385028 w 622051"/>
              <a:gd name="connsiteY108" fmla="*/ 162484 h 595035"/>
              <a:gd name="connsiteX109" fmla="*/ 439134 w 622051"/>
              <a:gd name="connsiteY109" fmla="*/ 108377 h 595035"/>
              <a:gd name="connsiteX110" fmla="*/ 438982 w 622051"/>
              <a:gd name="connsiteY110" fmla="*/ 217201 h 595035"/>
              <a:gd name="connsiteX111" fmla="*/ 478000 w 622051"/>
              <a:gd name="connsiteY111" fmla="*/ 232442 h 595035"/>
              <a:gd name="connsiteX112" fmla="*/ 493241 w 622051"/>
              <a:gd name="connsiteY112" fmla="*/ 270698 h 595035"/>
              <a:gd name="connsiteX113" fmla="*/ 385028 w 622051"/>
              <a:gd name="connsiteY113" fmla="*/ 270698 h 595035"/>
              <a:gd name="connsiteX114" fmla="*/ 439134 w 622051"/>
              <a:gd name="connsiteY114" fmla="*/ 216591 h 595035"/>
              <a:gd name="connsiteX115" fmla="*/ 438982 w 622051"/>
              <a:gd name="connsiteY115" fmla="*/ 325415 h 595035"/>
              <a:gd name="connsiteX116" fmla="*/ 478000 w 622051"/>
              <a:gd name="connsiteY116" fmla="*/ 340656 h 595035"/>
              <a:gd name="connsiteX117" fmla="*/ 493241 w 622051"/>
              <a:gd name="connsiteY117" fmla="*/ 378912 h 595035"/>
              <a:gd name="connsiteX118" fmla="*/ 385028 w 622051"/>
              <a:gd name="connsiteY118" fmla="*/ 378912 h 595035"/>
              <a:gd name="connsiteX119" fmla="*/ 439134 w 622051"/>
              <a:gd name="connsiteY119" fmla="*/ 324805 h 595035"/>
              <a:gd name="connsiteX120" fmla="*/ 438982 w 622051"/>
              <a:gd name="connsiteY120" fmla="*/ 433476 h 595035"/>
              <a:gd name="connsiteX121" fmla="*/ 460473 w 622051"/>
              <a:gd name="connsiteY121" fmla="*/ 437591 h 595035"/>
              <a:gd name="connsiteX122" fmla="*/ 477238 w 622051"/>
              <a:gd name="connsiteY122" fmla="*/ 449480 h 595035"/>
              <a:gd name="connsiteX123" fmla="*/ 489127 w 622051"/>
              <a:gd name="connsiteY123" fmla="*/ 466245 h 595035"/>
              <a:gd name="connsiteX124" fmla="*/ 493089 w 622051"/>
              <a:gd name="connsiteY124" fmla="*/ 487583 h 595035"/>
              <a:gd name="connsiteX125" fmla="*/ 384875 w 622051"/>
              <a:gd name="connsiteY125" fmla="*/ 487583 h 595035"/>
              <a:gd name="connsiteX126" fmla="*/ 438982 w 622051"/>
              <a:gd name="connsiteY126" fmla="*/ 433476 h 595035"/>
              <a:gd name="connsiteX127" fmla="*/ 438982 w 622051"/>
              <a:gd name="connsiteY127" fmla="*/ 541691 h 595035"/>
              <a:gd name="connsiteX128" fmla="*/ 478000 w 622051"/>
              <a:gd name="connsiteY128" fmla="*/ 556932 h 595035"/>
              <a:gd name="connsiteX129" fmla="*/ 493241 w 622051"/>
              <a:gd name="connsiteY129" fmla="*/ 595035 h 595035"/>
              <a:gd name="connsiteX130" fmla="*/ 385028 w 622051"/>
              <a:gd name="connsiteY130" fmla="*/ 595035 h 595035"/>
              <a:gd name="connsiteX131" fmla="*/ 401031 w 622051"/>
              <a:gd name="connsiteY131" fmla="*/ 556475 h 595035"/>
              <a:gd name="connsiteX132" fmla="*/ 439440 w 622051"/>
              <a:gd name="connsiteY132" fmla="*/ 541995 h 595035"/>
              <a:gd name="connsiteX133" fmla="*/ 529668 w 622051"/>
              <a:gd name="connsiteY133" fmla="*/ 16624 h 595035"/>
              <a:gd name="connsiteX134" fmla="*/ 606394 w 622051"/>
              <a:gd name="connsiteY134" fmla="*/ 17142 h 595035"/>
              <a:gd name="connsiteX135" fmla="*/ 622031 w 622051"/>
              <a:gd name="connsiteY135" fmla="*/ 54880 h 595035"/>
              <a:gd name="connsiteX136" fmla="*/ 513818 w 622051"/>
              <a:gd name="connsiteY136" fmla="*/ 54880 h 595035"/>
              <a:gd name="connsiteX137" fmla="*/ 530126 w 622051"/>
              <a:gd name="connsiteY137" fmla="*/ 16624 h 595035"/>
              <a:gd name="connsiteX138" fmla="*/ 529668 w 622051"/>
              <a:gd name="connsiteY138" fmla="*/ 124838 h 595035"/>
              <a:gd name="connsiteX139" fmla="*/ 606394 w 622051"/>
              <a:gd name="connsiteY139" fmla="*/ 125356 h 595035"/>
              <a:gd name="connsiteX140" fmla="*/ 622031 w 622051"/>
              <a:gd name="connsiteY140" fmla="*/ 163094 h 595035"/>
              <a:gd name="connsiteX141" fmla="*/ 513818 w 622051"/>
              <a:gd name="connsiteY141" fmla="*/ 163094 h 595035"/>
              <a:gd name="connsiteX142" fmla="*/ 530126 w 622051"/>
              <a:gd name="connsiteY142" fmla="*/ 124838 h 595035"/>
              <a:gd name="connsiteX143" fmla="*/ 567925 w 622051"/>
              <a:gd name="connsiteY143" fmla="*/ 217201 h 595035"/>
              <a:gd name="connsiteX144" fmla="*/ 622031 w 622051"/>
              <a:gd name="connsiteY144" fmla="*/ 271308 h 595035"/>
              <a:gd name="connsiteX145" fmla="*/ 513818 w 622051"/>
              <a:gd name="connsiteY145" fmla="*/ 271308 h 595035"/>
              <a:gd name="connsiteX146" fmla="*/ 520981 w 622051"/>
              <a:gd name="connsiteY146" fmla="*/ 244178 h 595035"/>
              <a:gd name="connsiteX147" fmla="*/ 540794 w 622051"/>
              <a:gd name="connsiteY147" fmla="*/ 224364 h 595035"/>
              <a:gd name="connsiteX148" fmla="*/ 568381 w 622051"/>
              <a:gd name="connsiteY148" fmla="*/ 217201 h 595035"/>
              <a:gd name="connsiteX149" fmla="*/ 529668 w 622051"/>
              <a:gd name="connsiteY149" fmla="*/ 341266 h 595035"/>
              <a:gd name="connsiteX150" fmla="*/ 606394 w 622051"/>
              <a:gd name="connsiteY150" fmla="*/ 341784 h 595035"/>
              <a:gd name="connsiteX151" fmla="*/ 622031 w 622051"/>
              <a:gd name="connsiteY151" fmla="*/ 379522 h 595035"/>
              <a:gd name="connsiteX152" fmla="*/ 513818 w 622051"/>
              <a:gd name="connsiteY152" fmla="*/ 379522 h 595035"/>
              <a:gd name="connsiteX153" fmla="*/ 530126 w 622051"/>
              <a:gd name="connsiteY153" fmla="*/ 341266 h 595035"/>
              <a:gd name="connsiteX154" fmla="*/ 567925 w 622051"/>
              <a:gd name="connsiteY154" fmla="*/ 433476 h 595035"/>
              <a:gd name="connsiteX155" fmla="*/ 588653 w 622051"/>
              <a:gd name="connsiteY155" fmla="*/ 437591 h 595035"/>
              <a:gd name="connsiteX156" fmla="*/ 606028 w 622051"/>
              <a:gd name="connsiteY156" fmla="*/ 449480 h 595035"/>
              <a:gd name="connsiteX157" fmla="*/ 617306 w 622051"/>
              <a:gd name="connsiteY157" fmla="*/ 466245 h 595035"/>
              <a:gd name="connsiteX158" fmla="*/ 622031 w 622051"/>
              <a:gd name="connsiteY158" fmla="*/ 487583 h 595035"/>
              <a:gd name="connsiteX159" fmla="*/ 513818 w 622051"/>
              <a:gd name="connsiteY159" fmla="*/ 487583 h 595035"/>
              <a:gd name="connsiteX160" fmla="*/ 520981 w 622051"/>
              <a:gd name="connsiteY160" fmla="*/ 459844 h 595035"/>
              <a:gd name="connsiteX161" fmla="*/ 540794 w 622051"/>
              <a:gd name="connsiteY161" fmla="*/ 440640 h 595035"/>
              <a:gd name="connsiteX162" fmla="*/ 568381 w 622051"/>
              <a:gd name="connsiteY162" fmla="*/ 433476 h 595035"/>
              <a:gd name="connsiteX163" fmla="*/ 567925 w 622051"/>
              <a:gd name="connsiteY163" fmla="*/ 541691 h 595035"/>
              <a:gd name="connsiteX164" fmla="*/ 606028 w 622051"/>
              <a:gd name="connsiteY164" fmla="*/ 556932 h 595035"/>
              <a:gd name="connsiteX165" fmla="*/ 622031 w 622051"/>
              <a:gd name="connsiteY165" fmla="*/ 595035 h 595035"/>
              <a:gd name="connsiteX166" fmla="*/ 513818 w 622051"/>
              <a:gd name="connsiteY166" fmla="*/ 595035 h 595035"/>
              <a:gd name="connsiteX167" fmla="*/ 529059 w 622051"/>
              <a:gd name="connsiteY167" fmla="*/ 556475 h 595035"/>
              <a:gd name="connsiteX168" fmla="*/ 568381 w 622051"/>
              <a:gd name="connsiteY168" fmla="*/ 541995 h 595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22051" h="595035">
                <a:moveTo>
                  <a:pt x="16186" y="16624"/>
                </a:moveTo>
                <a:cubicBezTo>
                  <a:pt x="37310" y="-4500"/>
                  <a:pt x="71572" y="-4500"/>
                  <a:pt x="92698" y="16624"/>
                </a:cubicBezTo>
                <a:cubicBezTo>
                  <a:pt x="102848" y="26775"/>
                  <a:pt x="108548" y="40538"/>
                  <a:pt x="108548" y="54880"/>
                </a:cubicBezTo>
                <a:lnTo>
                  <a:pt x="30" y="54880"/>
                </a:lnTo>
                <a:cubicBezTo>
                  <a:pt x="-77" y="40446"/>
                  <a:pt x="5760" y="26607"/>
                  <a:pt x="16186" y="16624"/>
                </a:cubicBezTo>
                <a:close/>
                <a:moveTo>
                  <a:pt x="16186" y="124838"/>
                </a:moveTo>
                <a:cubicBezTo>
                  <a:pt x="37310" y="103713"/>
                  <a:pt x="71572" y="103713"/>
                  <a:pt x="92698" y="124838"/>
                </a:cubicBezTo>
                <a:cubicBezTo>
                  <a:pt x="102848" y="134989"/>
                  <a:pt x="108548" y="148752"/>
                  <a:pt x="108548" y="163094"/>
                </a:cubicBezTo>
                <a:lnTo>
                  <a:pt x="30" y="163094"/>
                </a:lnTo>
                <a:cubicBezTo>
                  <a:pt x="-77" y="148660"/>
                  <a:pt x="5760" y="134821"/>
                  <a:pt x="16186" y="124838"/>
                </a:cubicBezTo>
                <a:close/>
                <a:moveTo>
                  <a:pt x="16186" y="233052"/>
                </a:moveTo>
                <a:cubicBezTo>
                  <a:pt x="37310" y="211927"/>
                  <a:pt x="71572" y="211927"/>
                  <a:pt x="92698" y="233052"/>
                </a:cubicBezTo>
                <a:cubicBezTo>
                  <a:pt x="102848" y="243203"/>
                  <a:pt x="108548" y="256966"/>
                  <a:pt x="108548" y="271308"/>
                </a:cubicBezTo>
                <a:lnTo>
                  <a:pt x="30" y="271308"/>
                </a:lnTo>
                <a:cubicBezTo>
                  <a:pt x="-77" y="256874"/>
                  <a:pt x="5760" y="243035"/>
                  <a:pt x="16186" y="233052"/>
                </a:cubicBezTo>
                <a:close/>
                <a:moveTo>
                  <a:pt x="16186" y="341266"/>
                </a:moveTo>
                <a:cubicBezTo>
                  <a:pt x="37279" y="320339"/>
                  <a:pt x="71299" y="320339"/>
                  <a:pt x="92393" y="341266"/>
                </a:cubicBezTo>
                <a:cubicBezTo>
                  <a:pt x="102482" y="351401"/>
                  <a:pt x="107985" y="365226"/>
                  <a:pt x="107634" y="379522"/>
                </a:cubicBezTo>
                <a:lnTo>
                  <a:pt x="30" y="379522"/>
                </a:lnTo>
                <a:cubicBezTo>
                  <a:pt x="-77" y="365088"/>
                  <a:pt x="5760" y="351249"/>
                  <a:pt x="16186" y="341266"/>
                </a:cubicBezTo>
                <a:close/>
                <a:moveTo>
                  <a:pt x="54442" y="433476"/>
                </a:moveTo>
                <a:cubicBezTo>
                  <a:pt x="61575" y="433324"/>
                  <a:pt x="68647" y="434726"/>
                  <a:pt x="75170" y="437591"/>
                </a:cubicBezTo>
                <a:cubicBezTo>
                  <a:pt x="81663" y="440503"/>
                  <a:pt x="87592" y="444527"/>
                  <a:pt x="92698" y="449480"/>
                </a:cubicBezTo>
                <a:cubicBezTo>
                  <a:pt x="97330" y="454403"/>
                  <a:pt x="101095" y="460073"/>
                  <a:pt x="103824" y="466245"/>
                </a:cubicBezTo>
                <a:cubicBezTo>
                  <a:pt x="106948" y="472921"/>
                  <a:pt x="108563" y="480207"/>
                  <a:pt x="108548" y="487583"/>
                </a:cubicBezTo>
                <a:lnTo>
                  <a:pt x="30" y="487583"/>
                </a:lnTo>
                <a:cubicBezTo>
                  <a:pt x="197" y="457771"/>
                  <a:pt x="24324" y="433644"/>
                  <a:pt x="54137" y="433476"/>
                </a:cubicBezTo>
                <a:close/>
                <a:moveTo>
                  <a:pt x="54442" y="541691"/>
                </a:moveTo>
                <a:cubicBezTo>
                  <a:pt x="68707" y="541523"/>
                  <a:pt x="82456" y="547010"/>
                  <a:pt x="92698" y="556932"/>
                </a:cubicBezTo>
                <a:cubicBezTo>
                  <a:pt x="102955" y="566900"/>
                  <a:pt x="108488" y="580754"/>
                  <a:pt x="107939" y="595035"/>
                </a:cubicBezTo>
                <a:lnTo>
                  <a:pt x="30" y="595035"/>
                </a:lnTo>
                <a:cubicBezTo>
                  <a:pt x="-458" y="580617"/>
                  <a:pt x="5060" y="566656"/>
                  <a:pt x="15271" y="556475"/>
                </a:cubicBezTo>
                <a:cubicBezTo>
                  <a:pt x="25788" y="546476"/>
                  <a:pt x="39947" y="541248"/>
                  <a:pt x="54442" y="541995"/>
                </a:cubicBezTo>
                <a:close/>
                <a:moveTo>
                  <a:pt x="182927" y="773"/>
                </a:moveTo>
                <a:cubicBezTo>
                  <a:pt x="212754" y="865"/>
                  <a:pt x="236881" y="25053"/>
                  <a:pt x="236881" y="54880"/>
                </a:cubicBezTo>
                <a:lnTo>
                  <a:pt x="128820" y="54880"/>
                </a:lnTo>
                <a:cubicBezTo>
                  <a:pt x="128576" y="40599"/>
                  <a:pt x="134063" y="26821"/>
                  <a:pt x="144061" y="16624"/>
                </a:cubicBezTo>
                <a:cubicBezTo>
                  <a:pt x="154227" y="6138"/>
                  <a:pt x="168325" y="392"/>
                  <a:pt x="182927" y="773"/>
                </a:cubicBezTo>
                <a:close/>
                <a:moveTo>
                  <a:pt x="182927" y="108987"/>
                </a:moveTo>
                <a:cubicBezTo>
                  <a:pt x="212754" y="109079"/>
                  <a:pt x="236881" y="133267"/>
                  <a:pt x="236881" y="163094"/>
                </a:cubicBezTo>
                <a:lnTo>
                  <a:pt x="128820" y="163094"/>
                </a:lnTo>
                <a:cubicBezTo>
                  <a:pt x="128576" y="148813"/>
                  <a:pt x="134063" y="135035"/>
                  <a:pt x="144061" y="124838"/>
                </a:cubicBezTo>
                <a:cubicBezTo>
                  <a:pt x="154227" y="114352"/>
                  <a:pt x="168325" y="108606"/>
                  <a:pt x="182927" y="108987"/>
                </a:cubicBezTo>
                <a:close/>
                <a:moveTo>
                  <a:pt x="182927" y="217201"/>
                </a:moveTo>
                <a:cubicBezTo>
                  <a:pt x="212754" y="217293"/>
                  <a:pt x="236881" y="241480"/>
                  <a:pt x="236881" y="271308"/>
                </a:cubicBezTo>
                <a:lnTo>
                  <a:pt x="128820" y="271308"/>
                </a:lnTo>
                <a:cubicBezTo>
                  <a:pt x="128576" y="257027"/>
                  <a:pt x="134063" y="243248"/>
                  <a:pt x="144061" y="233052"/>
                </a:cubicBezTo>
                <a:cubicBezTo>
                  <a:pt x="154227" y="222566"/>
                  <a:pt x="168325" y="216820"/>
                  <a:pt x="182927" y="217201"/>
                </a:cubicBezTo>
                <a:close/>
                <a:moveTo>
                  <a:pt x="182927" y="325415"/>
                </a:moveTo>
                <a:cubicBezTo>
                  <a:pt x="212754" y="325506"/>
                  <a:pt x="236881" y="349694"/>
                  <a:pt x="236881" y="379522"/>
                </a:cubicBezTo>
                <a:lnTo>
                  <a:pt x="128820" y="379522"/>
                </a:lnTo>
                <a:cubicBezTo>
                  <a:pt x="128576" y="365241"/>
                  <a:pt x="134063" y="351462"/>
                  <a:pt x="144061" y="341266"/>
                </a:cubicBezTo>
                <a:cubicBezTo>
                  <a:pt x="154196" y="330719"/>
                  <a:pt x="168310" y="324958"/>
                  <a:pt x="182927" y="325415"/>
                </a:cubicBezTo>
                <a:close/>
                <a:moveTo>
                  <a:pt x="182927" y="433476"/>
                </a:moveTo>
                <a:cubicBezTo>
                  <a:pt x="190014" y="433233"/>
                  <a:pt x="197055" y="434650"/>
                  <a:pt x="203502" y="437591"/>
                </a:cubicBezTo>
                <a:cubicBezTo>
                  <a:pt x="209630" y="440731"/>
                  <a:pt x="215284" y="444725"/>
                  <a:pt x="220268" y="449480"/>
                </a:cubicBezTo>
                <a:cubicBezTo>
                  <a:pt x="230709" y="459417"/>
                  <a:pt x="236698" y="473165"/>
                  <a:pt x="236881" y="487583"/>
                </a:cubicBezTo>
                <a:lnTo>
                  <a:pt x="128820" y="487583"/>
                </a:lnTo>
                <a:cubicBezTo>
                  <a:pt x="128606" y="473348"/>
                  <a:pt x="134093" y="459631"/>
                  <a:pt x="144061" y="449480"/>
                </a:cubicBezTo>
                <a:cubicBezTo>
                  <a:pt x="154182" y="438902"/>
                  <a:pt x="168294" y="433080"/>
                  <a:pt x="182927" y="433476"/>
                </a:cubicBezTo>
                <a:close/>
                <a:moveTo>
                  <a:pt x="182927" y="541691"/>
                </a:moveTo>
                <a:cubicBezTo>
                  <a:pt x="197147" y="541507"/>
                  <a:pt x="210864" y="546994"/>
                  <a:pt x="221030" y="556932"/>
                </a:cubicBezTo>
                <a:cubicBezTo>
                  <a:pt x="231334" y="566869"/>
                  <a:pt x="236881" y="580739"/>
                  <a:pt x="236271" y="595035"/>
                </a:cubicBezTo>
                <a:lnTo>
                  <a:pt x="128210" y="595035"/>
                </a:lnTo>
                <a:cubicBezTo>
                  <a:pt x="128103" y="565833"/>
                  <a:pt x="151697" y="542071"/>
                  <a:pt x="180914" y="541964"/>
                </a:cubicBezTo>
                <a:cubicBezTo>
                  <a:pt x="181585" y="541964"/>
                  <a:pt x="182256" y="541964"/>
                  <a:pt x="182927" y="541995"/>
                </a:cubicBezTo>
                <a:close/>
                <a:moveTo>
                  <a:pt x="272699" y="16624"/>
                </a:moveTo>
                <a:cubicBezTo>
                  <a:pt x="293396" y="-4927"/>
                  <a:pt x="327658" y="-5613"/>
                  <a:pt x="349195" y="15084"/>
                </a:cubicBezTo>
                <a:cubicBezTo>
                  <a:pt x="359864" y="25327"/>
                  <a:pt x="365869" y="39486"/>
                  <a:pt x="365823" y="54270"/>
                </a:cubicBezTo>
                <a:lnTo>
                  <a:pt x="257610" y="54270"/>
                </a:lnTo>
                <a:cubicBezTo>
                  <a:pt x="257503" y="40142"/>
                  <a:pt x="263111" y="26562"/>
                  <a:pt x="273155" y="16624"/>
                </a:cubicBezTo>
                <a:close/>
                <a:moveTo>
                  <a:pt x="272699" y="124838"/>
                </a:moveTo>
                <a:cubicBezTo>
                  <a:pt x="293823" y="103713"/>
                  <a:pt x="328085" y="103713"/>
                  <a:pt x="349210" y="124838"/>
                </a:cubicBezTo>
                <a:cubicBezTo>
                  <a:pt x="359361" y="134989"/>
                  <a:pt x="365061" y="148752"/>
                  <a:pt x="365061" y="163094"/>
                </a:cubicBezTo>
                <a:lnTo>
                  <a:pt x="256847" y="163094"/>
                </a:lnTo>
                <a:cubicBezTo>
                  <a:pt x="256771" y="148645"/>
                  <a:pt x="262684" y="134790"/>
                  <a:pt x="273155" y="124838"/>
                </a:cubicBezTo>
                <a:close/>
                <a:moveTo>
                  <a:pt x="272699" y="233052"/>
                </a:moveTo>
                <a:cubicBezTo>
                  <a:pt x="293823" y="211927"/>
                  <a:pt x="328085" y="211927"/>
                  <a:pt x="349210" y="233052"/>
                </a:cubicBezTo>
                <a:cubicBezTo>
                  <a:pt x="359361" y="243203"/>
                  <a:pt x="365061" y="256966"/>
                  <a:pt x="365061" y="271308"/>
                </a:cubicBezTo>
                <a:lnTo>
                  <a:pt x="256847" y="271308"/>
                </a:lnTo>
                <a:cubicBezTo>
                  <a:pt x="256771" y="256859"/>
                  <a:pt x="262684" y="243005"/>
                  <a:pt x="273155" y="233052"/>
                </a:cubicBezTo>
                <a:close/>
                <a:moveTo>
                  <a:pt x="272699" y="341266"/>
                </a:moveTo>
                <a:cubicBezTo>
                  <a:pt x="293823" y="320141"/>
                  <a:pt x="328085" y="320141"/>
                  <a:pt x="349210" y="341266"/>
                </a:cubicBezTo>
                <a:cubicBezTo>
                  <a:pt x="359361" y="351417"/>
                  <a:pt x="365061" y="365179"/>
                  <a:pt x="365061" y="379522"/>
                </a:cubicBezTo>
                <a:lnTo>
                  <a:pt x="256847" y="379522"/>
                </a:lnTo>
                <a:cubicBezTo>
                  <a:pt x="256771" y="365073"/>
                  <a:pt x="262684" y="351219"/>
                  <a:pt x="273155" y="341266"/>
                </a:cubicBezTo>
                <a:close/>
                <a:moveTo>
                  <a:pt x="310955" y="433476"/>
                </a:moveTo>
                <a:cubicBezTo>
                  <a:pt x="318087" y="433324"/>
                  <a:pt x="325159" y="434726"/>
                  <a:pt x="331683" y="437591"/>
                </a:cubicBezTo>
                <a:cubicBezTo>
                  <a:pt x="338175" y="440503"/>
                  <a:pt x="344105" y="444527"/>
                  <a:pt x="349210" y="449480"/>
                </a:cubicBezTo>
                <a:cubicBezTo>
                  <a:pt x="354256" y="454220"/>
                  <a:pt x="358294" y="459920"/>
                  <a:pt x="361099" y="466245"/>
                </a:cubicBezTo>
                <a:cubicBezTo>
                  <a:pt x="363689" y="473058"/>
                  <a:pt x="365031" y="480298"/>
                  <a:pt x="365061" y="487583"/>
                </a:cubicBezTo>
                <a:lnTo>
                  <a:pt x="256847" y="487583"/>
                </a:lnTo>
                <a:cubicBezTo>
                  <a:pt x="257015" y="457771"/>
                  <a:pt x="281142" y="433644"/>
                  <a:pt x="310955" y="433476"/>
                </a:cubicBezTo>
                <a:close/>
                <a:moveTo>
                  <a:pt x="310955" y="541691"/>
                </a:moveTo>
                <a:cubicBezTo>
                  <a:pt x="325175" y="541721"/>
                  <a:pt x="338862" y="547177"/>
                  <a:pt x="349210" y="556932"/>
                </a:cubicBezTo>
                <a:cubicBezTo>
                  <a:pt x="359377" y="566001"/>
                  <a:pt x="364955" y="579139"/>
                  <a:pt x="364451" y="592749"/>
                </a:cubicBezTo>
                <a:lnTo>
                  <a:pt x="364451" y="595035"/>
                </a:lnTo>
                <a:lnTo>
                  <a:pt x="256238" y="595035"/>
                </a:lnTo>
                <a:cubicBezTo>
                  <a:pt x="255750" y="580617"/>
                  <a:pt x="261268" y="566656"/>
                  <a:pt x="271479" y="556475"/>
                </a:cubicBezTo>
                <a:cubicBezTo>
                  <a:pt x="282194" y="546293"/>
                  <a:pt x="296658" y="541050"/>
                  <a:pt x="311411" y="541995"/>
                </a:cubicBezTo>
                <a:close/>
                <a:moveTo>
                  <a:pt x="438982" y="773"/>
                </a:moveTo>
                <a:cubicBezTo>
                  <a:pt x="453553" y="103"/>
                  <a:pt x="467743" y="5635"/>
                  <a:pt x="478000" y="16014"/>
                </a:cubicBezTo>
                <a:cubicBezTo>
                  <a:pt x="487968" y="26226"/>
                  <a:pt x="493455" y="40004"/>
                  <a:pt x="493241" y="54270"/>
                </a:cubicBezTo>
                <a:lnTo>
                  <a:pt x="385028" y="54270"/>
                </a:lnTo>
                <a:cubicBezTo>
                  <a:pt x="385195" y="24458"/>
                  <a:pt x="409322" y="331"/>
                  <a:pt x="439134" y="164"/>
                </a:cubicBezTo>
                <a:close/>
                <a:moveTo>
                  <a:pt x="438982" y="108987"/>
                </a:moveTo>
                <a:cubicBezTo>
                  <a:pt x="453553" y="108316"/>
                  <a:pt x="467743" y="113849"/>
                  <a:pt x="478000" y="124228"/>
                </a:cubicBezTo>
                <a:cubicBezTo>
                  <a:pt x="487968" y="134440"/>
                  <a:pt x="493455" y="148218"/>
                  <a:pt x="493241" y="162484"/>
                </a:cubicBezTo>
                <a:lnTo>
                  <a:pt x="385028" y="162484"/>
                </a:lnTo>
                <a:cubicBezTo>
                  <a:pt x="385195" y="132672"/>
                  <a:pt x="409322" y="108545"/>
                  <a:pt x="439134" y="108377"/>
                </a:cubicBezTo>
                <a:close/>
                <a:moveTo>
                  <a:pt x="438982" y="217201"/>
                </a:moveTo>
                <a:cubicBezTo>
                  <a:pt x="453553" y="216530"/>
                  <a:pt x="467743" y="222063"/>
                  <a:pt x="478000" y="232442"/>
                </a:cubicBezTo>
                <a:cubicBezTo>
                  <a:pt x="487968" y="242654"/>
                  <a:pt x="493455" y="256432"/>
                  <a:pt x="493241" y="270698"/>
                </a:cubicBezTo>
                <a:lnTo>
                  <a:pt x="385028" y="270698"/>
                </a:lnTo>
                <a:cubicBezTo>
                  <a:pt x="385195" y="240886"/>
                  <a:pt x="409322" y="216759"/>
                  <a:pt x="439134" y="216591"/>
                </a:cubicBezTo>
                <a:close/>
                <a:moveTo>
                  <a:pt x="438982" y="325415"/>
                </a:moveTo>
                <a:cubicBezTo>
                  <a:pt x="453568" y="324683"/>
                  <a:pt x="467774" y="330231"/>
                  <a:pt x="478000" y="340656"/>
                </a:cubicBezTo>
                <a:cubicBezTo>
                  <a:pt x="487968" y="350868"/>
                  <a:pt x="493455" y="364646"/>
                  <a:pt x="493241" y="378912"/>
                </a:cubicBezTo>
                <a:lnTo>
                  <a:pt x="385028" y="378912"/>
                </a:lnTo>
                <a:cubicBezTo>
                  <a:pt x="385195" y="349100"/>
                  <a:pt x="409322" y="324973"/>
                  <a:pt x="439134" y="324805"/>
                </a:cubicBezTo>
                <a:close/>
                <a:moveTo>
                  <a:pt x="438982" y="433476"/>
                </a:moveTo>
                <a:cubicBezTo>
                  <a:pt x="446374" y="433141"/>
                  <a:pt x="453736" y="434558"/>
                  <a:pt x="460473" y="437591"/>
                </a:cubicBezTo>
                <a:cubicBezTo>
                  <a:pt x="466600" y="440731"/>
                  <a:pt x="472254" y="444725"/>
                  <a:pt x="477238" y="449480"/>
                </a:cubicBezTo>
                <a:cubicBezTo>
                  <a:pt x="482512" y="454022"/>
                  <a:pt x="486581" y="459768"/>
                  <a:pt x="489127" y="466245"/>
                </a:cubicBezTo>
                <a:cubicBezTo>
                  <a:pt x="491717" y="473058"/>
                  <a:pt x="493059" y="480298"/>
                  <a:pt x="493089" y="487583"/>
                </a:cubicBezTo>
                <a:lnTo>
                  <a:pt x="384875" y="487583"/>
                </a:lnTo>
                <a:cubicBezTo>
                  <a:pt x="385210" y="457832"/>
                  <a:pt x="409231" y="433812"/>
                  <a:pt x="438982" y="433476"/>
                </a:cubicBezTo>
                <a:close/>
                <a:moveTo>
                  <a:pt x="438982" y="541691"/>
                </a:moveTo>
                <a:cubicBezTo>
                  <a:pt x="453523" y="541203"/>
                  <a:pt x="467636" y="546720"/>
                  <a:pt x="478000" y="556932"/>
                </a:cubicBezTo>
                <a:cubicBezTo>
                  <a:pt x="488136" y="566976"/>
                  <a:pt x="493653" y="580769"/>
                  <a:pt x="493241" y="595035"/>
                </a:cubicBezTo>
                <a:lnTo>
                  <a:pt x="385028" y="595035"/>
                </a:lnTo>
                <a:cubicBezTo>
                  <a:pt x="384677" y="580495"/>
                  <a:pt x="390499" y="566488"/>
                  <a:pt x="401031" y="556475"/>
                </a:cubicBezTo>
                <a:cubicBezTo>
                  <a:pt x="411335" y="546628"/>
                  <a:pt x="425204" y="541401"/>
                  <a:pt x="439440" y="541995"/>
                </a:cubicBezTo>
                <a:close/>
                <a:moveTo>
                  <a:pt x="529668" y="16624"/>
                </a:moveTo>
                <a:cubicBezTo>
                  <a:pt x="551007" y="-4424"/>
                  <a:pt x="585360" y="-4180"/>
                  <a:pt x="606394" y="17142"/>
                </a:cubicBezTo>
                <a:cubicBezTo>
                  <a:pt x="616331" y="27202"/>
                  <a:pt x="621940" y="40751"/>
                  <a:pt x="622031" y="54880"/>
                </a:cubicBezTo>
                <a:lnTo>
                  <a:pt x="513818" y="54880"/>
                </a:lnTo>
                <a:cubicBezTo>
                  <a:pt x="513741" y="40431"/>
                  <a:pt x="519655" y="26577"/>
                  <a:pt x="530126" y="16624"/>
                </a:cubicBezTo>
                <a:close/>
                <a:moveTo>
                  <a:pt x="529668" y="124838"/>
                </a:moveTo>
                <a:cubicBezTo>
                  <a:pt x="551007" y="103790"/>
                  <a:pt x="585360" y="104034"/>
                  <a:pt x="606394" y="125356"/>
                </a:cubicBezTo>
                <a:cubicBezTo>
                  <a:pt x="616331" y="135416"/>
                  <a:pt x="621940" y="148965"/>
                  <a:pt x="622031" y="163094"/>
                </a:cubicBezTo>
                <a:lnTo>
                  <a:pt x="513818" y="163094"/>
                </a:lnTo>
                <a:cubicBezTo>
                  <a:pt x="513741" y="148645"/>
                  <a:pt x="519655" y="134790"/>
                  <a:pt x="530126" y="124838"/>
                </a:cubicBezTo>
                <a:close/>
                <a:moveTo>
                  <a:pt x="567925" y="217201"/>
                </a:moveTo>
                <a:cubicBezTo>
                  <a:pt x="597737" y="217368"/>
                  <a:pt x="621864" y="241496"/>
                  <a:pt x="622031" y="271308"/>
                </a:cubicBezTo>
                <a:lnTo>
                  <a:pt x="513818" y="271308"/>
                </a:lnTo>
                <a:cubicBezTo>
                  <a:pt x="513696" y="261782"/>
                  <a:pt x="516165" y="252393"/>
                  <a:pt x="520981" y="244178"/>
                </a:cubicBezTo>
                <a:cubicBezTo>
                  <a:pt x="525629" y="235872"/>
                  <a:pt x="532488" y="229013"/>
                  <a:pt x="540794" y="224364"/>
                </a:cubicBezTo>
                <a:cubicBezTo>
                  <a:pt x="549178" y="219533"/>
                  <a:pt x="558704" y="217048"/>
                  <a:pt x="568381" y="217201"/>
                </a:cubicBezTo>
                <a:close/>
                <a:moveTo>
                  <a:pt x="529668" y="341266"/>
                </a:moveTo>
                <a:cubicBezTo>
                  <a:pt x="551007" y="320218"/>
                  <a:pt x="585360" y="320461"/>
                  <a:pt x="606394" y="341784"/>
                </a:cubicBezTo>
                <a:cubicBezTo>
                  <a:pt x="616331" y="351843"/>
                  <a:pt x="621940" y="365393"/>
                  <a:pt x="622031" y="379522"/>
                </a:cubicBezTo>
                <a:lnTo>
                  <a:pt x="513818" y="379522"/>
                </a:lnTo>
                <a:cubicBezTo>
                  <a:pt x="513741" y="365073"/>
                  <a:pt x="519655" y="351219"/>
                  <a:pt x="530126" y="341266"/>
                </a:cubicBezTo>
                <a:close/>
                <a:moveTo>
                  <a:pt x="567925" y="433476"/>
                </a:moveTo>
                <a:cubicBezTo>
                  <a:pt x="575058" y="433324"/>
                  <a:pt x="582130" y="434726"/>
                  <a:pt x="588653" y="437591"/>
                </a:cubicBezTo>
                <a:cubicBezTo>
                  <a:pt x="595130" y="440457"/>
                  <a:pt x="601014" y="444481"/>
                  <a:pt x="606028" y="449480"/>
                </a:cubicBezTo>
                <a:cubicBezTo>
                  <a:pt x="610768" y="454342"/>
                  <a:pt x="614578" y="460027"/>
                  <a:pt x="617306" y="466245"/>
                </a:cubicBezTo>
                <a:cubicBezTo>
                  <a:pt x="620370" y="472952"/>
                  <a:pt x="621971" y="480222"/>
                  <a:pt x="622031" y="487583"/>
                </a:cubicBezTo>
                <a:lnTo>
                  <a:pt x="513818" y="487583"/>
                </a:lnTo>
                <a:cubicBezTo>
                  <a:pt x="513756" y="477875"/>
                  <a:pt x="516225" y="468303"/>
                  <a:pt x="520981" y="459844"/>
                </a:cubicBezTo>
                <a:cubicBezTo>
                  <a:pt x="525827" y="451842"/>
                  <a:pt x="532656" y="445228"/>
                  <a:pt x="540794" y="440640"/>
                </a:cubicBezTo>
                <a:cubicBezTo>
                  <a:pt x="549208" y="435869"/>
                  <a:pt x="558719" y="433400"/>
                  <a:pt x="568381" y="433476"/>
                </a:cubicBezTo>
                <a:close/>
                <a:moveTo>
                  <a:pt x="567925" y="541691"/>
                </a:moveTo>
                <a:cubicBezTo>
                  <a:pt x="582144" y="541507"/>
                  <a:pt x="595862" y="546994"/>
                  <a:pt x="606028" y="556932"/>
                </a:cubicBezTo>
                <a:cubicBezTo>
                  <a:pt x="616605" y="566732"/>
                  <a:pt x="622442" y="580617"/>
                  <a:pt x="622031" y="595035"/>
                </a:cubicBezTo>
                <a:lnTo>
                  <a:pt x="513818" y="595035"/>
                </a:lnTo>
                <a:cubicBezTo>
                  <a:pt x="513329" y="580617"/>
                  <a:pt x="518847" y="566656"/>
                  <a:pt x="529059" y="556475"/>
                </a:cubicBezTo>
                <a:cubicBezTo>
                  <a:pt x="539621" y="546446"/>
                  <a:pt x="553841" y="541203"/>
                  <a:pt x="568381" y="541995"/>
                </a:cubicBezTo>
                <a:close/>
              </a:path>
            </a:pathLst>
          </a:custGeom>
          <a:solidFill>
            <a:srgbClr val="007BC7"/>
          </a:solidFill>
          <a:ln w="15240" cap="flat">
            <a:noFill/>
            <a:prstDash val="solid"/>
            <a:miter/>
          </a:ln>
        </p:spPr>
        <p:txBody>
          <a:bodyPr rtlCol="0" anchor="ctr"/>
          <a:lstStyle/>
          <a:p>
            <a:endParaRPr lang="nl-NL"/>
          </a:p>
        </p:txBody>
      </p:sp>
    </p:spTree>
    <p:extLst>
      <p:ext uri="{BB962C8B-B14F-4D97-AF65-F5344CB8AC3E}">
        <p14:creationId xmlns:p14="http://schemas.microsoft.com/office/powerpoint/2010/main" val="226533938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oleObject" Target="../embeddings/oleObject2.bin"/><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0893325-8497-0A4F-959D-6F2FDCA0BD90}"/>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60893325-8497-0A4F-959D-6F2FDCA0BD9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9119D42-08D4-544D-86E4-C51B5D6A6F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endParaRPr lang="en-NL"/>
          </a:p>
        </p:txBody>
      </p:sp>
      <p:sp>
        <p:nvSpPr>
          <p:cNvPr id="3" name="Text Placeholder 2">
            <a:extLst>
              <a:ext uri="{FF2B5EF4-FFF2-40B4-BE49-F238E27FC236}">
                <a16:creationId xmlns:a16="http://schemas.microsoft.com/office/drawing/2014/main" id="{89B0823F-5791-B84F-82C4-4145DAF2842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Date Placeholder 3">
            <a:extLst>
              <a:ext uri="{FF2B5EF4-FFF2-40B4-BE49-F238E27FC236}">
                <a16:creationId xmlns:a16="http://schemas.microsoft.com/office/drawing/2014/main" id="{BEAE38A1-0278-4745-B1C5-A57CE2F4B6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NL"/>
          </a:p>
        </p:txBody>
      </p:sp>
      <p:sp>
        <p:nvSpPr>
          <p:cNvPr id="5" name="Footer Placeholder 4">
            <a:extLst>
              <a:ext uri="{FF2B5EF4-FFF2-40B4-BE49-F238E27FC236}">
                <a16:creationId xmlns:a16="http://schemas.microsoft.com/office/drawing/2014/main" id="{16DB1EB9-DF79-4A4F-ABE8-C9356DF479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L"/>
          </a:p>
        </p:txBody>
      </p:sp>
      <p:sp>
        <p:nvSpPr>
          <p:cNvPr id="6" name="Slide Number Placeholder 5">
            <a:extLst>
              <a:ext uri="{FF2B5EF4-FFF2-40B4-BE49-F238E27FC236}">
                <a16:creationId xmlns:a16="http://schemas.microsoft.com/office/drawing/2014/main" id="{0A746F3A-B6B5-AA45-8AFB-FC6C3FFD02D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010894-FA73-E840-93E2-CFF1B4808519}" type="slidenum">
              <a:rPr lang="en-NL" smtClean="0"/>
              <a:t>‹nr.›</a:t>
            </a:fld>
            <a:endParaRPr lang="en-NL"/>
          </a:p>
        </p:txBody>
      </p:sp>
      <p:graphicFrame>
        <p:nvGraphicFramePr>
          <p:cNvPr id="9" name="Object 8" hidden="1">
            <a:extLst>
              <a:ext uri="{FF2B5EF4-FFF2-40B4-BE49-F238E27FC236}">
                <a16:creationId xmlns:a16="http://schemas.microsoft.com/office/drawing/2014/main" id="{2517C043-D7D4-D048-B2A4-CE5CFEE5BE76}"/>
              </a:ext>
            </a:extLst>
          </p:cNvPr>
          <p:cNvGraphicFramePr>
            <a:graphicFrameLocks noChangeAspect="1"/>
          </p:cNvGraphicFramePr>
          <p:nvPr>
            <p:custDataLst>
              <p:tags r:id="rId4"/>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2517C043-D7D4-D048-B2A4-CE5CFEE5BE76}"/>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 name="Tekstvak 9">
            <a:extLst>
              <a:ext uri="{FF2B5EF4-FFF2-40B4-BE49-F238E27FC236}">
                <a16:creationId xmlns:a16="http://schemas.microsoft.com/office/drawing/2014/main" id="{A83CDF2F-4A95-5A25-19D4-7F5D8681C200}"/>
              </a:ext>
            </a:extLst>
          </p:cNvPr>
          <p:cNvSpPr txBox="1"/>
          <p:nvPr userDrawn="1">
            <p:extLst>
              <p:ext uri="{1162E1C5-73C7-4A58-AE30-91384D911F3F}">
                <p184:classification xmlns:p184="http://schemas.microsoft.com/office/powerpoint/2018/4/main" val="ftr"/>
              </p:ext>
            </p:extLst>
          </p:nvPr>
        </p:nvSpPr>
        <p:spPr>
          <a:xfrm>
            <a:off x="63500" y="6642100"/>
            <a:ext cx="760413" cy="152400"/>
          </a:xfrm>
          <a:prstGeom prst="rect">
            <a:avLst/>
          </a:prstGeom>
        </p:spPr>
        <p:txBody>
          <a:bodyPr horzOverflow="overflow" lIns="0" tIns="0" rIns="0" bIns="0">
            <a:spAutoFit/>
          </a:bodyPr>
          <a:lstStyle/>
          <a:p>
            <a:pPr algn="l"/>
            <a:r>
              <a:rPr lang="nl-NL" sz="1000">
                <a:solidFill>
                  <a:srgbClr val="000000"/>
                </a:solidFill>
                <a:latin typeface="Calibri" panose="020F0502020204030204" pitchFamily="34" charset="0"/>
                <a:cs typeface="Calibri" panose="020F0502020204030204" pitchFamily="34" charset="0"/>
              </a:rPr>
              <a:t>Intern gebruik</a:t>
            </a:r>
          </a:p>
        </p:txBody>
      </p:sp>
    </p:spTree>
    <p:extLst>
      <p:ext uri="{BB962C8B-B14F-4D97-AF65-F5344CB8AC3E}">
        <p14:creationId xmlns:p14="http://schemas.microsoft.com/office/powerpoint/2010/main" val="3886373494"/>
      </p:ext>
    </p:extLst>
  </p:cSld>
  <p:clrMap bg1="lt1" tx1="dk1" bg2="lt2" tx2="dk2" accent1="accent1" accent2="accent2" accent3="accent3" accent4="accent4" accent5="accent5" accent6="accent6" hlink="hlink" folHlink="folHlink"/>
  <p:sldLayoutIdLst>
    <p:sldLayoutId id="214748375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CD92A2E-2411-88D9-61E0-573BB23FD357}"/>
              </a:ext>
            </a:extLst>
          </p:cNvPr>
          <p:cNvGraphicFramePr>
            <a:graphicFrameLocks noChangeAspect="1"/>
          </p:cNvGraphicFramePr>
          <p:nvPr userDrawn="1">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4CD92A2E-2411-88D9-61E0-573BB23FD3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id / Stramien" hidden="1">
            <a:extLst>
              <a:ext uri="{FF2B5EF4-FFF2-40B4-BE49-F238E27FC236}">
                <a16:creationId xmlns:a16="http://schemas.microsoft.com/office/drawing/2014/main" id="{343A4401-27B2-E746-A0A2-0ECF55F9142F}"/>
              </a:ext>
            </a:extLst>
          </p:cNvPr>
          <p:cNvPicPr>
            <a:picLocks noChangeAspect="1"/>
          </p:cNvPicPr>
          <p:nvPr userDrawn="1"/>
        </p:nvPicPr>
        <p:blipFill rotWithShape="1">
          <a:blip r:embed="rId6">
            <a:alphaModFix/>
            <a:extLst>
              <a:ext uri="{28A0092B-C50C-407E-A947-70E740481C1C}">
                <a14:useLocalDpi xmlns:a14="http://schemas.microsoft.com/office/drawing/2010/main" val="0"/>
              </a:ext>
            </a:extLst>
          </a:blip>
          <a:srcRect t="14815"/>
          <a:stretch/>
        </p:blipFill>
        <p:spPr>
          <a:xfrm>
            <a:off x="-1" y="1016000"/>
            <a:ext cx="12182479" cy="5841686"/>
          </a:xfrm>
          <a:prstGeom prst="rect">
            <a:avLst/>
          </a:prstGeom>
        </p:spPr>
      </p:pic>
      <p:sp>
        <p:nvSpPr>
          <p:cNvPr id="2" name="Tijdelijke aanduiding voor titel 1"/>
          <p:cNvSpPr>
            <a:spLocks noGrp="1"/>
          </p:cNvSpPr>
          <p:nvPr>
            <p:ph type="title"/>
          </p:nvPr>
        </p:nvSpPr>
        <p:spPr>
          <a:xfrm>
            <a:off x="681038" y="768843"/>
            <a:ext cx="10834687" cy="915496"/>
          </a:xfrm>
          <a:prstGeom prst="rect">
            <a:avLst/>
          </a:prstGeom>
        </p:spPr>
        <p:txBody>
          <a:bodyPr vert="horz" lIns="0" tIns="0" rIns="0" bIns="0" rtlCol="0" anchor="t" anchorCtr="0">
            <a:normAutofit/>
          </a:bodyPr>
          <a:lstStyle/>
          <a:p>
            <a:r>
              <a:rPr lang="nl-NL" dirty="0"/>
              <a:t>Klik om de stijl te bewerken</a:t>
            </a:r>
          </a:p>
        </p:txBody>
      </p:sp>
      <p:sp>
        <p:nvSpPr>
          <p:cNvPr id="3" name="Tijdelijke aanduiding voor tekst 2"/>
          <p:cNvSpPr>
            <a:spLocks noGrp="1"/>
          </p:cNvSpPr>
          <p:nvPr>
            <p:ph type="body" idx="1"/>
          </p:nvPr>
        </p:nvSpPr>
        <p:spPr>
          <a:xfrm>
            <a:off x="681038" y="1684339"/>
            <a:ext cx="10834687" cy="4084210"/>
          </a:xfrm>
          <a:prstGeom prst="rect">
            <a:avLst/>
          </a:prstGeom>
        </p:spPr>
        <p:txBody>
          <a:bodyPr vert="horz" lIns="0" tIns="0" rIns="0" bIns="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p:txBody>
      </p:sp>
      <p:sp>
        <p:nvSpPr>
          <p:cNvPr id="11" name="Tijdelijke aanduiding voor datum 3"/>
          <p:cNvSpPr>
            <a:spLocks noGrp="1"/>
          </p:cNvSpPr>
          <p:nvPr>
            <p:ph type="dt" sz="half" idx="2"/>
          </p:nvPr>
        </p:nvSpPr>
        <p:spPr>
          <a:xfrm>
            <a:off x="681038" y="6489700"/>
            <a:ext cx="2508250" cy="252413"/>
          </a:xfrm>
          <a:prstGeom prst="rect">
            <a:avLst/>
          </a:prstGeom>
        </p:spPr>
        <p:txBody>
          <a:bodyPr vert="horz" lIns="0" tIns="0" rIns="0" bIns="0" rtlCol="0" anchor="ctr" anchorCtr="0"/>
          <a:lstStyle>
            <a:lvl1pPr algn="l">
              <a:defRPr sz="1050" b="0" i="0">
                <a:solidFill>
                  <a:schemeClr val="tx1"/>
                </a:solidFill>
                <a:latin typeface="+mj-lt"/>
              </a:defRPr>
            </a:lvl1pPr>
          </a:lstStyle>
          <a:p>
            <a:endParaRPr lang="nl-NL" dirty="0"/>
          </a:p>
        </p:txBody>
      </p:sp>
      <p:sp>
        <p:nvSpPr>
          <p:cNvPr id="14" name="Tijdelijke aanduiding voor voettekst 4"/>
          <p:cNvSpPr>
            <a:spLocks noGrp="1"/>
          </p:cNvSpPr>
          <p:nvPr>
            <p:ph type="ftr" sz="quarter" idx="3"/>
          </p:nvPr>
        </p:nvSpPr>
        <p:spPr>
          <a:xfrm>
            <a:off x="3462338" y="6489700"/>
            <a:ext cx="3576000" cy="252413"/>
          </a:xfrm>
          <a:prstGeom prst="rect">
            <a:avLst/>
          </a:prstGeom>
        </p:spPr>
        <p:txBody>
          <a:bodyPr vert="horz" lIns="0" tIns="0" rIns="0" bIns="0" rtlCol="0" anchor="ctr" anchorCtr="0"/>
          <a:lstStyle>
            <a:lvl1pPr algn="l">
              <a:defRPr sz="1050" b="0" i="0">
                <a:solidFill>
                  <a:schemeClr val="tx1"/>
                </a:solidFill>
                <a:latin typeface="+mj-lt"/>
              </a:defRPr>
            </a:lvl1pPr>
          </a:lstStyle>
          <a:p>
            <a:endParaRPr lang="nl-NL" dirty="0"/>
          </a:p>
        </p:txBody>
      </p:sp>
      <p:sp>
        <p:nvSpPr>
          <p:cNvPr id="15" name="Tijdelijke aanduiding voor dianummer 5"/>
          <p:cNvSpPr>
            <a:spLocks noGrp="1"/>
          </p:cNvSpPr>
          <p:nvPr>
            <p:ph type="sldNum" sz="quarter" idx="4"/>
          </p:nvPr>
        </p:nvSpPr>
        <p:spPr>
          <a:xfrm>
            <a:off x="10824300" y="6489705"/>
            <a:ext cx="691425" cy="237488"/>
          </a:xfrm>
          <a:prstGeom prst="rect">
            <a:avLst/>
          </a:prstGeom>
        </p:spPr>
        <p:txBody>
          <a:bodyPr vert="horz" lIns="0" tIns="0" rIns="0" bIns="0" rtlCol="0" anchor="ctr" anchorCtr="0"/>
          <a:lstStyle>
            <a:lvl1pPr algn="r">
              <a:defRPr sz="1050" b="0" i="0">
                <a:solidFill>
                  <a:schemeClr val="tx1"/>
                </a:solidFill>
                <a:latin typeface="+mj-lt"/>
              </a:defRPr>
            </a:lvl1pPr>
          </a:lstStyle>
          <a:p>
            <a:fld id="{10A0A6AF-03C5-477E-939A-E28F7E7F05EA}" type="slidenum">
              <a:rPr lang="nl-NL" smtClean="0"/>
              <a:pPr/>
              <a:t>‹nr.›</a:t>
            </a:fld>
            <a:endParaRPr lang="nl-NL" dirty="0"/>
          </a:p>
        </p:txBody>
      </p:sp>
      <p:sp>
        <p:nvSpPr>
          <p:cNvPr id="6" name="Tekstvak 5">
            <a:extLst>
              <a:ext uri="{FF2B5EF4-FFF2-40B4-BE49-F238E27FC236}">
                <a16:creationId xmlns:a16="http://schemas.microsoft.com/office/drawing/2014/main" id="{75E9632B-D1A2-9191-F800-1EAC544B7BAE}"/>
              </a:ext>
            </a:extLst>
          </p:cNvPr>
          <p:cNvSpPr txBox="1"/>
          <p:nvPr userDrawn="1">
            <p:extLst>
              <p:ext uri="{1162E1C5-73C7-4A58-AE30-91384D911F3F}">
                <p184:classification xmlns:p184="http://schemas.microsoft.com/office/powerpoint/2018/4/main" val="ftr"/>
              </p:ext>
            </p:extLst>
          </p:nvPr>
        </p:nvSpPr>
        <p:spPr>
          <a:xfrm>
            <a:off x="63500" y="6642100"/>
            <a:ext cx="760413" cy="152400"/>
          </a:xfrm>
          <a:prstGeom prst="rect">
            <a:avLst/>
          </a:prstGeom>
        </p:spPr>
        <p:txBody>
          <a:bodyPr horzOverflow="overflow" lIns="0" tIns="0" rIns="0" bIns="0">
            <a:spAutoFit/>
          </a:bodyPr>
          <a:lstStyle/>
          <a:p>
            <a:pPr algn="l"/>
            <a:r>
              <a:rPr lang="nl-NL" sz="1000">
                <a:solidFill>
                  <a:srgbClr val="000000"/>
                </a:solidFill>
                <a:latin typeface="Calibri" panose="020F0502020204030204" pitchFamily="34" charset="0"/>
                <a:cs typeface="Calibri" panose="020F0502020204030204" pitchFamily="34" charset="0"/>
              </a:rPr>
              <a:t>Intern gebruik</a:t>
            </a:r>
          </a:p>
        </p:txBody>
      </p:sp>
    </p:spTree>
    <p:extLst>
      <p:ext uri="{BB962C8B-B14F-4D97-AF65-F5344CB8AC3E}">
        <p14:creationId xmlns:p14="http://schemas.microsoft.com/office/powerpoint/2010/main" val="1539043846"/>
      </p:ext>
    </p:extLst>
  </p:cSld>
  <p:clrMap bg1="lt1" tx1="dk1" bg2="lt2" tx2="dk2" accent1="accent1" accent2="accent2" accent3="accent3" accent4="accent4" accent5="accent5" accent6="accent6" hlink="hlink" folHlink="folHlink"/>
  <p:sldLayoutIdLst>
    <p:sldLayoutId id="2147483728" r:id="rId1"/>
  </p:sldLayoutIdLst>
  <p:hf hdr="0" ftr="0" dt="0"/>
  <p:txStyles>
    <p:titleStyle>
      <a:lvl1pPr algn="l" defTabSz="914400" rtl="0" eaLnBrk="1" latinLnBrk="0" hangingPunct="1">
        <a:lnSpc>
          <a:spcPct val="90000"/>
        </a:lnSpc>
        <a:spcBef>
          <a:spcPct val="0"/>
        </a:spcBef>
        <a:buNone/>
        <a:defRPr sz="3200" b="1" i="0" kern="1200" baseline="0">
          <a:solidFill>
            <a:schemeClr val="tx1"/>
          </a:solidFill>
          <a:latin typeface="+mj-lt"/>
          <a:ea typeface="+mj-ea"/>
          <a:cs typeface="Calibri"/>
        </a:defRPr>
      </a:lvl1pPr>
    </p:titleStyle>
    <p:bodyStyle>
      <a:lvl1pPr marL="316800" indent="-316800" algn="l" defTabSz="914400" rtl="0" eaLnBrk="1" latinLnBrk="0" hangingPunct="1">
        <a:lnSpc>
          <a:spcPct val="100000"/>
        </a:lnSpc>
        <a:spcBef>
          <a:spcPts val="1200"/>
        </a:spcBef>
        <a:buClr>
          <a:schemeClr val="tx1"/>
        </a:buClr>
        <a:buSzPct val="80000"/>
        <a:buFont typeface=".AppleSystemUIFont" charset="-120"/>
        <a:buChar char="•"/>
        <a:defRPr sz="1800" b="0" i="0" kern="1200">
          <a:solidFill>
            <a:schemeClr val="tx1"/>
          </a:solidFill>
          <a:latin typeface="+mj-lt"/>
          <a:ea typeface="+mn-ea"/>
          <a:cs typeface="Calibri"/>
        </a:defRPr>
      </a:lvl1pPr>
      <a:lvl2pPr marL="630000" indent="-316800" algn="l" defTabSz="914400" rtl="0" eaLnBrk="1" latinLnBrk="0" hangingPunct="1">
        <a:lnSpc>
          <a:spcPct val="100000"/>
        </a:lnSpc>
        <a:spcBef>
          <a:spcPts val="1000"/>
        </a:spcBef>
        <a:buClr>
          <a:schemeClr val="tx1"/>
        </a:buClr>
        <a:buFont typeface=".AppleSystemUIFont" charset="-120"/>
        <a:buChar char="•"/>
        <a:defRPr sz="1600" b="0" i="0" kern="1200">
          <a:solidFill>
            <a:schemeClr val="tx1"/>
          </a:solidFill>
          <a:latin typeface="+mj-lt"/>
          <a:ea typeface="+mn-ea"/>
          <a:cs typeface="Calibri"/>
        </a:defRPr>
      </a:lvl2pPr>
      <a:lvl3pPr marL="946800" indent="-316800" algn="l" defTabSz="914400" rtl="0" eaLnBrk="1" latinLnBrk="0" hangingPunct="1">
        <a:lnSpc>
          <a:spcPct val="100000"/>
        </a:lnSpc>
        <a:spcBef>
          <a:spcPts val="800"/>
        </a:spcBef>
        <a:buClr>
          <a:schemeClr val="tx1"/>
        </a:buClr>
        <a:buFont typeface=".AppleSystemUIFont" charset="-120"/>
        <a:buChar char="•"/>
        <a:defRPr sz="1600" b="0" i="0" kern="1200">
          <a:solidFill>
            <a:schemeClr val="tx1"/>
          </a:solidFill>
          <a:latin typeface="+mj-lt"/>
          <a:ea typeface="+mn-ea"/>
          <a:cs typeface="Calibri"/>
        </a:defRPr>
      </a:lvl3pPr>
      <a:lvl4pPr marL="1260000" indent="-316800" algn="l" defTabSz="914400" rtl="0" eaLnBrk="1" latinLnBrk="0" hangingPunct="1">
        <a:lnSpc>
          <a:spcPct val="100000"/>
        </a:lnSpc>
        <a:spcBef>
          <a:spcPts val="600"/>
        </a:spcBef>
        <a:buClr>
          <a:schemeClr val="tx1"/>
        </a:buClr>
        <a:buFont typeface=".AppleSystemUIFont" charset="-120"/>
        <a:buChar char="•"/>
        <a:defRPr sz="1600" b="0" i="0" kern="1200">
          <a:solidFill>
            <a:schemeClr val="tx1"/>
          </a:solidFill>
          <a:latin typeface="+mj-lt"/>
          <a:ea typeface="+mn-ea"/>
          <a:cs typeface="Calibri"/>
        </a:defRPr>
      </a:lvl4pPr>
      <a:lvl5pPr marL="1576800" indent="-316800" algn="l" defTabSz="914400" rtl="0" eaLnBrk="1" latinLnBrk="0" hangingPunct="1">
        <a:lnSpc>
          <a:spcPct val="100000"/>
        </a:lnSpc>
        <a:spcBef>
          <a:spcPts val="600"/>
        </a:spcBef>
        <a:buClr>
          <a:schemeClr val="tx1"/>
        </a:buClr>
        <a:buFont typeface=".AppleSystemUIFont" charset="-120"/>
        <a:buChar char="•"/>
        <a:defRPr sz="1400" b="0" i="0" kern="1200">
          <a:solidFill>
            <a:schemeClr val="tx1"/>
          </a:solidFill>
          <a:latin typeface="+mj-lt"/>
          <a:ea typeface="+mn-ea"/>
          <a:cs typeface="Calibri"/>
        </a:defRPr>
      </a:lvl5pPr>
      <a:lvl6pPr marL="1890000" indent="-316800" algn="l" defTabSz="914400" rtl="0" eaLnBrk="1" latinLnBrk="0" hangingPunct="1">
        <a:lnSpc>
          <a:spcPct val="100000"/>
        </a:lnSpc>
        <a:spcBef>
          <a:spcPts val="600"/>
        </a:spcBef>
        <a:buClr>
          <a:schemeClr val="tx1"/>
        </a:buClr>
        <a:buFont typeface=".AppleSystemUIFont" charset="-120"/>
        <a:buChar char="•"/>
        <a:defRPr sz="1200" b="0" i="0" kern="1200">
          <a:solidFill>
            <a:schemeClr val="tx1"/>
          </a:solidFill>
          <a:latin typeface="+mj-lt"/>
          <a:ea typeface="+mn-ea"/>
          <a:cs typeface="Calibri"/>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72000" indent="0" algn="l" defTabSz="914400" rtl="0" eaLnBrk="1" latinLnBrk="0" hangingPunct="1">
        <a:lnSpc>
          <a:spcPct val="100000"/>
        </a:lnSpc>
        <a:spcBef>
          <a:spcPts val="600"/>
        </a:spcBef>
        <a:buClr>
          <a:schemeClr val="tx2"/>
        </a:buClr>
        <a:buFont typeface="Verdana" panose="020B0604030504040204" pitchFamily="34" charset="0"/>
        <a:buNone/>
        <a:defRPr sz="1200" b="0" i="0" kern="1200">
          <a:solidFill>
            <a:schemeClr val="tx1">
              <a:lumMod val="65000"/>
              <a:lumOff val="35000"/>
            </a:schemeClr>
          </a:solidFill>
          <a:latin typeface="Calibri"/>
          <a:ea typeface="+mn-ea"/>
          <a:cs typeface="Calibri"/>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3919">
          <p15:clr>
            <a:srgbClr val="5ACBF0"/>
          </p15:clr>
        </p15:guide>
        <p15:guide id="9" pos="3840">
          <p15:clr>
            <a:srgbClr val="F26B43"/>
          </p15:clr>
        </p15:guide>
        <p15:guide id="11" pos="854">
          <p15:clr>
            <a:srgbClr val="F26B43"/>
          </p15:clr>
        </p15:guide>
        <p15:guide id="12" pos="4267">
          <p15:clr>
            <a:srgbClr val="F26B43"/>
          </p15:clr>
        </p15:guide>
        <p15:guide id="16" pos="427">
          <p15:clr>
            <a:srgbClr val="5ACBF0"/>
          </p15:clr>
        </p15:guide>
        <p15:guide id="17" orient="horz" pos="709">
          <p15:clr>
            <a:srgbClr val="5ACBF0"/>
          </p15:clr>
        </p15:guide>
        <p15:guide id="19" orient="horz" pos="2160">
          <p15:clr>
            <a:srgbClr val="5ACBF0"/>
          </p15:clr>
        </p15:guide>
        <p15:guide id="21" pos="1282">
          <p15:clr>
            <a:srgbClr val="F26B43"/>
          </p15:clr>
        </p15:guide>
        <p15:guide id="22" pos="1708">
          <p15:clr>
            <a:srgbClr val="F26B43"/>
          </p15:clr>
        </p15:guide>
        <p15:guide id="24" pos="2139">
          <p15:clr>
            <a:srgbClr val="F26B43"/>
          </p15:clr>
        </p15:guide>
        <p15:guide id="25" pos="2561">
          <p15:clr>
            <a:srgbClr val="F26B43"/>
          </p15:clr>
        </p15:guide>
        <p15:guide id="27" pos="2987">
          <p15:clr>
            <a:srgbClr val="F26B43"/>
          </p15:clr>
        </p15:guide>
        <p15:guide id="28" pos="3414">
          <p15:clr>
            <a:srgbClr val="F26B43"/>
          </p15:clr>
        </p15:guide>
        <p15:guide id="29" pos="4693">
          <p15:clr>
            <a:srgbClr val="F26B43"/>
          </p15:clr>
        </p15:guide>
        <p15:guide id="31" pos="5119">
          <p15:clr>
            <a:srgbClr val="F26B43"/>
          </p15:clr>
        </p15:guide>
        <p15:guide id="32" pos="5546">
          <p15:clr>
            <a:srgbClr val="F26B43"/>
          </p15:clr>
        </p15:guide>
        <p15:guide id="33" pos="5973">
          <p15:clr>
            <a:srgbClr val="F26B43"/>
          </p15:clr>
        </p15:guide>
        <p15:guide id="36" pos="6401">
          <p15:clr>
            <a:srgbClr val="F26B43"/>
          </p15:clr>
        </p15:guide>
        <p15:guide id="37" pos="6826">
          <p15:clr>
            <a:srgbClr val="F26B43"/>
          </p15:clr>
        </p15:guide>
        <p15:guide id="39" orient="horz" pos="1061">
          <p15:clr>
            <a:srgbClr val="5ACBF0"/>
          </p15:clr>
        </p15:guide>
        <p15:guide id="40" pos="7254">
          <p15:clr>
            <a:srgbClr val="5ACBF0"/>
          </p15:clr>
        </p15:guide>
        <p15:guide id="41" orient="horz" pos="1474">
          <p15:clr>
            <a:srgbClr val="5ACBF0"/>
          </p15:clr>
        </p15:guide>
        <p15:guide id="42" orient="horz" pos="1879">
          <p15:clr>
            <a:srgbClr val="5ACBF0"/>
          </p15:clr>
        </p15:guide>
        <p15:guide id="43" orient="horz" pos="2287">
          <p15:clr>
            <a:srgbClr val="5ACBF0"/>
          </p15:clr>
        </p15:guide>
        <p15:guide id="44" orient="horz" pos="2696">
          <p15:clr>
            <a:srgbClr val="5ACBF0"/>
          </p15:clr>
        </p15:guide>
        <p15:guide id="45" orient="horz" pos="3104">
          <p15:clr>
            <a:srgbClr val="5ACBF0"/>
          </p15:clr>
        </p15:guide>
        <p15:guide id="46" orient="horz" pos="3513">
          <p15:clr>
            <a:srgbClr val="5ACBF0"/>
          </p15:clr>
        </p15:guide>
        <p15:guide id="47" orient="horz" pos="4088">
          <p15:clr>
            <a:srgbClr val="5ACBF0"/>
          </p15:clr>
        </p15:guide>
        <p15:guide id="48" orient="horz" pos="424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rvo.nl/onderwerpen/zaken-regelen/inloggen#eherkenning" TargetMode="External"/><Relationship Id="rId2" Type="http://schemas.openxmlformats.org/officeDocument/2006/relationships/hyperlink" Target="http://www.rvo.nl/subsidies-financiering/leader-uitvoering-projecten" TargetMode="Externa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s://mijn.rvo.nl/machtigingen" TargetMode="Externa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mijn.rvo.nl/leader-uitvoering-projecten" TargetMode="Externa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4" name="Tijdelijke aanduiding voor dianummer 3">
            <a:extLst>
              <a:ext uri="{FF2B5EF4-FFF2-40B4-BE49-F238E27FC236}">
                <a16:creationId xmlns:a16="http://schemas.microsoft.com/office/drawing/2014/main" id="{619082F7-9804-0B67-6EEC-97344B478149}"/>
              </a:ext>
            </a:extLst>
          </p:cNvPr>
          <p:cNvSpPr>
            <a:spLocks noGrp="1"/>
          </p:cNvSpPr>
          <p:nvPr>
            <p:ph type="sldNum" sz="quarter" idx="12"/>
          </p:nvPr>
        </p:nvSpPr>
        <p:spPr/>
        <p:txBody>
          <a:bodyPr/>
          <a:lstStyle/>
          <a:p>
            <a:fld id="{10A0A6AF-03C5-477E-939A-E28F7E7F05EA}" type="slidenum">
              <a:rPr lang="nl-NL" smtClean="0"/>
              <a:pPr/>
              <a:t>1</a:t>
            </a:fld>
            <a:endParaRPr lang="nl-NL" dirty="0"/>
          </a:p>
        </p:txBody>
      </p:sp>
      <p:sp>
        <p:nvSpPr>
          <p:cNvPr id="5" name="Titel 2">
            <a:extLst>
              <a:ext uri="{FF2B5EF4-FFF2-40B4-BE49-F238E27FC236}">
                <a16:creationId xmlns:a16="http://schemas.microsoft.com/office/drawing/2014/main" id="{F45A8630-B827-A09A-A700-3327842AAA9A}"/>
              </a:ext>
            </a:extLst>
          </p:cNvPr>
          <p:cNvSpPr>
            <a:spLocks noGrp="1"/>
          </p:cNvSpPr>
          <p:nvPr>
            <p:ph type="title"/>
          </p:nvPr>
        </p:nvSpPr>
        <p:spPr>
          <a:xfrm>
            <a:off x="655828" y="1099655"/>
            <a:ext cx="10907522" cy="1513111"/>
          </a:xfrm>
        </p:spPr>
        <p:txBody>
          <a:bodyPr vert="horz"/>
          <a:lstStyle/>
          <a:p>
            <a:pPr algn="ctr"/>
            <a:br>
              <a:rPr lang="nl-NL" sz="2800" dirty="0"/>
            </a:br>
            <a:br>
              <a:rPr lang="nl-NL" sz="2800" dirty="0"/>
            </a:br>
            <a:r>
              <a:rPr lang="nl-NL" sz="4000" dirty="0"/>
              <a:t>LEADER </a:t>
            </a:r>
            <a:br>
              <a:rPr lang="nl-NL" sz="4000" dirty="0"/>
            </a:br>
            <a:r>
              <a:rPr lang="nl-NL" sz="2000" dirty="0"/>
              <a:t>Stappenplan bij het indienen van een LEADER-aanvraag in het online portaal van RVO</a:t>
            </a:r>
            <a:br>
              <a:rPr lang="nl-NL" sz="2000" dirty="0"/>
            </a:br>
            <a:r>
              <a:rPr lang="nl-NL" sz="1500" dirty="0"/>
              <a:t>Versie 11 november 2024</a:t>
            </a:r>
          </a:p>
        </p:txBody>
      </p:sp>
      <p:sp>
        <p:nvSpPr>
          <p:cNvPr id="6" name="Titel 2">
            <a:extLst>
              <a:ext uri="{FF2B5EF4-FFF2-40B4-BE49-F238E27FC236}">
                <a16:creationId xmlns:a16="http://schemas.microsoft.com/office/drawing/2014/main" id="{3C7BB8D4-3162-734E-D785-28509BA8675C}"/>
              </a:ext>
            </a:extLst>
          </p:cNvPr>
          <p:cNvSpPr txBox="1">
            <a:spLocks/>
          </p:cNvSpPr>
          <p:nvPr/>
        </p:nvSpPr>
        <p:spPr>
          <a:xfrm>
            <a:off x="846328" y="3038121"/>
            <a:ext cx="10907522" cy="151311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i="0" kern="1200" baseline="0">
                <a:solidFill>
                  <a:schemeClr val="tx1"/>
                </a:solidFill>
                <a:latin typeface="+mj-lt"/>
                <a:ea typeface="+mj-ea"/>
                <a:cs typeface="Calibri"/>
              </a:defRPr>
            </a:lvl1pPr>
          </a:lstStyle>
          <a:p>
            <a:pPr algn="ctr"/>
            <a:br>
              <a:rPr lang="nl-NL" sz="2800" dirty="0"/>
            </a:br>
            <a:br>
              <a:rPr lang="nl-NL" sz="2000" b="0" dirty="0"/>
            </a:br>
            <a:r>
              <a:rPr lang="nl-NL" sz="2000" b="0" dirty="0">
                <a:solidFill>
                  <a:srgbClr val="FF0000"/>
                </a:solidFill>
              </a:rPr>
              <a:t>N.B. Dit betreft een handreiking die door LEADER-coördinatoren gebruikt kan worden om aanvragers te informeren. Verzoek aan de coördinatoren: check zelf of de vermelde informatie relevant/ van toepassing is voor jouw LEADER-gebied.</a:t>
            </a:r>
          </a:p>
          <a:p>
            <a:pPr algn="ctr"/>
            <a:r>
              <a:rPr lang="nl-NL" sz="2000" b="0" dirty="0">
                <a:solidFill>
                  <a:srgbClr val="FF0000"/>
                </a:solidFill>
              </a:rPr>
              <a:t>En voeg ook gerust zelf info toe (bijvoorbeeld </a:t>
            </a:r>
            <a:r>
              <a:rPr lang="nl-NL" sz="2000" b="0" dirty="0" err="1">
                <a:solidFill>
                  <a:srgbClr val="FF0000"/>
                </a:solidFill>
              </a:rPr>
              <a:t>printscreens</a:t>
            </a:r>
            <a:r>
              <a:rPr lang="nl-NL" sz="2000" b="0" dirty="0">
                <a:solidFill>
                  <a:srgbClr val="FF0000"/>
                </a:solidFill>
              </a:rPr>
              <a:t> van de invoervelden in de </a:t>
            </a:r>
            <a:r>
              <a:rPr lang="nl-NL" sz="2000" b="0" dirty="0" err="1">
                <a:solidFill>
                  <a:srgbClr val="FF0000"/>
                </a:solidFill>
              </a:rPr>
              <a:t>webportal</a:t>
            </a:r>
            <a:r>
              <a:rPr lang="nl-NL" sz="2000" b="0" dirty="0">
                <a:solidFill>
                  <a:srgbClr val="FF0000"/>
                </a:solidFill>
              </a:rPr>
              <a:t> die van toepassing zijn voor jouw gebied).</a:t>
            </a:r>
            <a:endParaRPr lang="nl-NL" sz="2000" b="0" dirty="0"/>
          </a:p>
        </p:txBody>
      </p:sp>
      <p:pic>
        <p:nvPicPr>
          <p:cNvPr id="7" name="Afbeelding 6" descr="Afbeelding met Graphics, Lettertype, grafische vormgeving, tekst&#10;&#10;Automatisch gegenereerde beschrijving">
            <a:extLst>
              <a:ext uri="{FF2B5EF4-FFF2-40B4-BE49-F238E27FC236}">
                <a16:creationId xmlns:a16="http://schemas.microsoft.com/office/drawing/2014/main" id="{B2A34421-3CDF-8B56-8ED1-43FB69D6740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9" name="Afbeelding 8" descr="Afbeelding met tekst, Lettertype, Elektrisch blauw, schermopname&#10;&#10;Automatisch gegenereerde beschrijving">
            <a:extLst>
              <a:ext uri="{FF2B5EF4-FFF2-40B4-BE49-F238E27FC236}">
                <a16:creationId xmlns:a16="http://schemas.microsoft.com/office/drawing/2014/main" id="{853D2734-ADF7-2BB9-791A-263CF5D2455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41225266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F6B8B306-AE29-3674-90CE-6BF2804F54A1}"/>
              </a:ext>
            </a:extLst>
          </p:cNvPr>
          <p:cNvSpPr>
            <a:spLocks noGrp="1"/>
          </p:cNvSpPr>
          <p:nvPr>
            <p:ph idx="1"/>
          </p:nvPr>
        </p:nvSpPr>
        <p:spPr/>
        <p:txBody>
          <a:bodyPr/>
          <a:lstStyle/>
          <a:p>
            <a:pPr marL="285750" indent="-285750">
              <a:buFont typeface="Arial" panose="020B0604020202020204" pitchFamily="34" charset="0"/>
              <a:buChar char="•"/>
            </a:pPr>
            <a:r>
              <a:rPr lang="nl-NL" dirty="0"/>
              <a:t>Bijna klaar! Upload de bijlagen onder de juiste kopjes.</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1: Gebruik geen rare tekens in de bestandsnaam (%$&amp;_ etc.) en houd het korter dan 50 tekens. Dit voorkomt foutmeldingen.</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2: Klik eerst op ‘’Toevoegen’’ &gt; ‘’Bestand kiezen’’ &gt; Kies het bestand dat je wilt uploaden en kies dan ‘’Upload’’.</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3: Heb je een vergunningsaanvraag gedaan, maar heb je de beslissing nog niet? Voeg dan de bevestiging van de aanvraag toe.</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4: Ben je als aanvrager een natuurlijk persoon of een MKB-onderneming? Dan hoef je in beginsel geen de-minimisverklaring mee te sturen. Stuur wel altijd een MKB-verklaring mee volgens het format van RVO als de aanvrager een onderneming is!</a:t>
            </a:r>
          </a:p>
        </p:txBody>
      </p:sp>
      <p:sp>
        <p:nvSpPr>
          <p:cNvPr id="3" name="Titel 2">
            <a:extLst>
              <a:ext uri="{FF2B5EF4-FFF2-40B4-BE49-F238E27FC236}">
                <a16:creationId xmlns:a16="http://schemas.microsoft.com/office/drawing/2014/main" id="{3C087687-B16B-0882-B8C9-A4C1659E120E}"/>
              </a:ext>
            </a:extLst>
          </p:cNvPr>
          <p:cNvSpPr>
            <a:spLocks noGrp="1"/>
          </p:cNvSpPr>
          <p:nvPr>
            <p:ph type="title"/>
          </p:nvPr>
        </p:nvSpPr>
        <p:spPr/>
        <p:txBody>
          <a:bodyPr/>
          <a:lstStyle/>
          <a:p>
            <a:r>
              <a:rPr lang="nl-NL" dirty="0"/>
              <a:t>Aanvraagformulier</a:t>
            </a:r>
            <a:br>
              <a:rPr lang="nl-NL" dirty="0"/>
            </a:br>
            <a:r>
              <a:rPr lang="nl-NL" dirty="0"/>
              <a:t>Bijlagen	</a:t>
            </a:r>
          </a:p>
        </p:txBody>
      </p:sp>
      <p:sp>
        <p:nvSpPr>
          <p:cNvPr id="4" name="Tijdelijke aanduiding voor dianummer 3">
            <a:extLst>
              <a:ext uri="{FF2B5EF4-FFF2-40B4-BE49-F238E27FC236}">
                <a16:creationId xmlns:a16="http://schemas.microsoft.com/office/drawing/2014/main" id="{BA3DB8D2-6D75-DA4F-F95C-7A6E2F2766AD}"/>
              </a:ext>
            </a:extLst>
          </p:cNvPr>
          <p:cNvSpPr>
            <a:spLocks noGrp="1"/>
          </p:cNvSpPr>
          <p:nvPr>
            <p:ph type="sldNum" sz="quarter" idx="12"/>
          </p:nvPr>
        </p:nvSpPr>
        <p:spPr/>
        <p:txBody>
          <a:bodyPr/>
          <a:lstStyle/>
          <a:p>
            <a:fld id="{10A0A6AF-03C5-477E-939A-E28F7E7F05EA}" type="slidenum">
              <a:rPr lang="nl-NL" smtClean="0"/>
              <a:pPr/>
              <a:t>10</a:t>
            </a:fld>
            <a:endParaRPr lang="nl-NL" dirty="0"/>
          </a:p>
        </p:txBody>
      </p:sp>
      <p:pic>
        <p:nvPicPr>
          <p:cNvPr id="6" name="Afbeelding 5">
            <a:extLst>
              <a:ext uri="{FF2B5EF4-FFF2-40B4-BE49-F238E27FC236}">
                <a16:creationId xmlns:a16="http://schemas.microsoft.com/office/drawing/2014/main" id="{A6BB8CD6-10D5-2C38-93A5-1A4D432FAC2B}"/>
              </a:ext>
            </a:extLst>
          </p:cNvPr>
          <p:cNvPicPr>
            <a:picLocks noChangeAspect="1"/>
          </p:cNvPicPr>
          <p:nvPr/>
        </p:nvPicPr>
        <p:blipFill>
          <a:blip r:embed="rId2"/>
          <a:stretch>
            <a:fillRect/>
          </a:stretch>
        </p:blipFill>
        <p:spPr>
          <a:xfrm>
            <a:off x="7214171" y="922051"/>
            <a:ext cx="4854004" cy="1180839"/>
          </a:xfrm>
          <a:prstGeom prst="rect">
            <a:avLst/>
          </a:prstGeom>
        </p:spPr>
      </p:pic>
      <p:pic>
        <p:nvPicPr>
          <p:cNvPr id="5" name="Afbeelding 4" descr="Afbeelding met Graphics, Lettertype, grafische vormgeving, tekst&#10;&#10;Automatisch gegenereerde beschrijving">
            <a:extLst>
              <a:ext uri="{FF2B5EF4-FFF2-40B4-BE49-F238E27FC236}">
                <a16:creationId xmlns:a16="http://schemas.microsoft.com/office/drawing/2014/main" id="{70A40554-2155-E0A1-C48C-82A5FED72E8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7" name="Afbeelding 6" descr="Afbeelding met tekst, Lettertype, Elektrisch blauw, schermopname&#10;&#10;Automatisch gegenereerde beschrijving">
            <a:extLst>
              <a:ext uri="{FF2B5EF4-FFF2-40B4-BE49-F238E27FC236}">
                <a16:creationId xmlns:a16="http://schemas.microsoft.com/office/drawing/2014/main" id="{32DF8AC5-98AF-224B-B49E-1CD4582C458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17969068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DD8D881F-EA3A-611F-01B0-2E0715061E3F}"/>
              </a:ext>
            </a:extLst>
          </p:cNvPr>
          <p:cNvSpPr>
            <a:spLocks noGrp="1"/>
          </p:cNvSpPr>
          <p:nvPr>
            <p:ph idx="1"/>
          </p:nvPr>
        </p:nvSpPr>
        <p:spPr>
          <a:xfrm>
            <a:off x="680400" y="1684338"/>
            <a:ext cx="6460139" cy="4537075"/>
          </a:xfrm>
        </p:spPr>
        <p:txBody>
          <a:bodyPr/>
          <a:lstStyle/>
          <a:p>
            <a:pPr marL="285750" indent="-285750">
              <a:buFont typeface="Arial" panose="020B0604020202020204" pitchFamily="34" charset="0"/>
              <a:buChar char="•"/>
            </a:pPr>
            <a:r>
              <a:rPr lang="nl-NL" dirty="0"/>
              <a:t>In het scherm na de bijlagen zie je de samenvatting van je projectaanvraag. Klopt alles? Ga dan door naar de ondertekening.</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1: Akkoord met de ondertekening? Dan kun je dat aanvinken en ‘’Verzenden’’ klikken. Daarmee is je aanvraag ingediend!</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2: Na het verzenden krijg je een ontvangstbevestiging binnen, en zie je op het scherm een ‘’zaaknummer’’. Noteer dit zaaknummer! Deze heb je nodig als je contact opneemt met RVO. </a:t>
            </a:r>
          </a:p>
        </p:txBody>
      </p:sp>
      <p:sp>
        <p:nvSpPr>
          <p:cNvPr id="3" name="Titel 2">
            <a:extLst>
              <a:ext uri="{FF2B5EF4-FFF2-40B4-BE49-F238E27FC236}">
                <a16:creationId xmlns:a16="http://schemas.microsoft.com/office/drawing/2014/main" id="{24658E40-8885-991F-55DA-D073FD251F4A}"/>
              </a:ext>
            </a:extLst>
          </p:cNvPr>
          <p:cNvSpPr>
            <a:spLocks noGrp="1"/>
          </p:cNvSpPr>
          <p:nvPr>
            <p:ph type="title"/>
          </p:nvPr>
        </p:nvSpPr>
        <p:spPr>
          <a:xfrm>
            <a:off x="680400" y="450343"/>
            <a:ext cx="10830562" cy="915496"/>
          </a:xfrm>
        </p:spPr>
        <p:txBody>
          <a:bodyPr/>
          <a:lstStyle/>
          <a:p>
            <a:r>
              <a:rPr lang="nl-NL" dirty="0"/>
              <a:t>Aanvraagformulier	</a:t>
            </a:r>
            <a:br>
              <a:rPr lang="nl-NL" dirty="0"/>
            </a:br>
            <a:r>
              <a:rPr lang="nl-NL" dirty="0"/>
              <a:t>Samenvatting, ondertekening &amp; afronden!</a:t>
            </a:r>
          </a:p>
        </p:txBody>
      </p:sp>
      <p:sp>
        <p:nvSpPr>
          <p:cNvPr id="4" name="Tijdelijke aanduiding voor dianummer 3">
            <a:extLst>
              <a:ext uri="{FF2B5EF4-FFF2-40B4-BE49-F238E27FC236}">
                <a16:creationId xmlns:a16="http://schemas.microsoft.com/office/drawing/2014/main" id="{F87954EC-9B3F-67B0-4580-C42E7CEA59EF}"/>
              </a:ext>
            </a:extLst>
          </p:cNvPr>
          <p:cNvSpPr>
            <a:spLocks noGrp="1"/>
          </p:cNvSpPr>
          <p:nvPr>
            <p:ph type="sldNum" sz="quarter" idx="12"/>
          </p:nvPr>
        </p:nvSpPr>
        <p:spPr/>
        <p:txBody>
          <a:bodyPr/>
          <a:lstStyle/>
          <a:p>
            <a:fld id="{10A0A6AF-03C5-477E-939A-E28F7E7F05EA}" type="slidenum">
              <a:rPr lang="nl-NL" smtClean="0"/>
              <a:pPr/>
              <a:t>11</a:t>
            </a:fld>
            <a:endParaRPr lang="nl-NL" dirty="0"/>
          </a:p>
        </p:txBody>
      </p:sp>
      <p:pic>
        <p:nvPicPr>
          <p:cNvPr id="6" name="Afbeelding 5">
            <a:extLst>
              <a:ext uri="{FF2B5EF4-FFF2-40B4-BE49-F238E27FC236}">
                <a16:creationId xmlns:a16="http://schemas.microsoft.com/office/drawing/2014/main" id="{B6893355-8B78-D75A-1424-F0329D77324A}"/>
              </a:ext>
            </a:extLst>
          </p:cNvPr>
          <p:cNvPicPr>
            <a:picLocks noChangeAspect="1"/>
          </p:cNvPicPr>
          <p:nvPr/>
        </p:nvPicPr>
        <p:blipFill>
          <a:blip r:embed="rId2"/>
          <a:stretch>
            <a:fillRect/>
          </a:stretch>
        </p:blipFill>
        <p:spPr>
          <a:xfrm>
            <a:off x="7220084" y="1467826"/>
            <a:ext cx="4938952" cy="2806223"/>
          </a:xfrm>
          <a:prstGeom prst="rect">
            <a:avLst/>
          </a:prstGeom>
        </p:spPr>
      </p:pic>
      <p:pic>
        <p:nvPicPr>
          <p:cNvPr id="8" name="Afbeelding 7">
            <a:extLst>
              <a:ext uri="{FF2B5EF4-FFF2-40B4-BE49-F238E27FC236}">
                <a16:creationId xmlns:a16="http://schemas.microsoft.com/office/drawing/2014/main" id="{E521F8BB-00C4-29A8-CE80-2E0B8BE627E4}"/>
              </a:ext>
            </a:extLst>
          </p:cNvPr>
          <p:cNvPicPr>
            <a:picLocks noChangeAspect="1"/>
          </p:cNvPicPr>
          <p:nvPr/>
        </p:nvPicPr>
        <p:blipFill>
          <a:blip r:embed="rId3"/>
          <a:stretch>
            <a:fillRect/>
          </a:stretch>
        </p:blipFill>
        <p:spPr>
          <a:xfrm>
            <a:off x="4382294" y="5173662"/>
            <a:ext cx="6791325" cy="914400"/>
          </a:xfrm>
          <a:prstGeom prst="rect">
            <a:avLst/>
          </a:prstGeom>
        </p:spPr>
      </p:pic>
      <p:pic>
        <p:nvPicPr>
          <p:cNvPr id="5" name="Afbeelding 4" descr="Afbeelding met Graphics, Lettertype, grafische vormgeving, tekst&#10;&#10;Automatisch gegenereerde beschrijving">
            <a:extLst>
              <a:ext uri="{FF2B5EF4-FFF2-40B4-BE49-F238E27FC236}">
                <a16:creationId xmlns:a16="http://schemas.microsoft.com/office/drawing/2014/main" id="{907CD9C2-4102-E0E6-77C4-9A26F050D73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7" name="Afbeelding 6" descr="Afbeelding met tekst, Lettertype, Elektrisch blauw, schermopname&#10;&#10;Automatisch gegenereerde beschrijving">
            <a:extLst>
              <a:ext uri="{FF2B5EF4-FFF2-40B4-BE49-F238E27FC236}">
                <a16:creationId xmlns:a16="http://schemas.microsoft.com/office/drawing/2014/main" id="{FE1B5FC6-A967-868F-9CED-F3D3C7DD588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95551966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DF3D433A-5D55-1A15-C7EE-7715D88F74BD}"/>
              </a:ext>
            </a:extLst>
          </p:cNvPr>
          <p:cNvSpPr>
            <a:spLocks noGrp="1"/>
          </p:cNvSpPr>
          <p:nvPr>
            <p:ph idx="1"/>
          </p:nvPr>
        </p:nvSpPr>
        <p:spPr/>
        <p:txBody>
          <a:bodyPr/>
          <a:lstStyle/>
          <a:p>
            <a:pPr marL="285750" indent="-285750">
              <a:buFont typeface="Arial" panose="020B0604020202020204" pitchFamily="34" charset="0"/>
              <a:buChar char="•"/>
            </a:pPr>
            <a:r>
              <a:rPr lang="nl-NL" dirty="0"/>
              <a:t>De aanvraag binnen het portaal van RVO is nu rond!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RVO gaat jouw aanvraag nu beoordelen, met als doel dat jouw aanvraag in de eerstvolgende LAG-vergadering kan worden beoordeeld door de lokale actiegroep.</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Verdere vragen? Contacteer dan de LEADER-coördinator van het gebied waarin jij aanvraagt.</a:t>
            </a:r>
          </a:p>
        </p:txBody>
      </p:sp>
      <p:sp>
        <p:nvSpPr>
          <p:cNvPr id="3" name="Titel 2">
            <a:extLst>
              <a:ext uri="{FF2B5EF4-FFF2-40B4-BE49-F238E27FC236}">
                <a16:creationId xmlns:a16="http://schemas.microsoft.com/office/drawing/2014/main" id="{D0BF2C8B-46EB-2107-C0B7-94DA304BBB11}"/>
              </a:ext>
            </a:extLst>
          </p:cNvPr>
          <p:cNvSpPr>
            <a:spLocks noGrp="1"/>
          </p:cNvSpPr>
          <p:nvPr>
            <p:ph type="title"/>
          </p:nvPr>
        </p:nvSpPr>
        <p:spPr/>
        <p:txBody>
          <a:bodyPr/>
          <a:lstStyle/>
          <a:p>
            <a:r>
              <a:rPr lang="nl-NL" dirty="0"/>
              <a:t>Aanvraagformulier</a:t>
            </a:r>
            <a:br>
              <a:rPr lang="nl-NL" dirty="0"/>
            </a:br>
            <a:r>
              <a:rPr lang="nl-NL" dirty="0"/>
              <a:t>Einde</a:t>
            </a:r>
          </a:p>
        </p:txBody>
      </p:sp>
      <p:sp>
        <p:nvSpPr>
          <p:cNvPr id="4" name="Tijdelijke aanduiding voor dianummer 3">
            <a:extLst>
              <a:ext uri="{FF2B5EF4-FFF2-40B4-BE49-F238E27FC236}">
                <a16:creationId xmlns:a16="http://schemas.microsoft.com/office/drawing/2014/main" id="{18D721EC-7596-493E-91CB-8A52305FC811}"/>
              </a:ext>
            </a:extLst>
          </p:cNvPr>
          <p:cNvSpPr>
            <a:spLocks noGrp="1"/>
          </p:cNvSpPr>
          <p:nvPr>
            <p:ph type="sldNum" sz="quarter" idx="12"/>
          </p:nvPr>
        </p:nvSpPr>
        <p:spPr/>
        <p:txBody>
          <a:bodyPr/>
          <a:lstStyle/>
          <a:p>
            <a:fld id="{10A0A6AF-03C5-477E-939A-E28F7E7F05EA}" type="slidenum">
              <a:rPr lang="nl-NL" smtClean="0"/>
              <a:pPr/>
              <a:t>12</a:t>
            </a:fld>
            <a:endParaRPr lang="nl-NL" dirty="0"/>
          </a:p>
        </p:txBody>
      </p:sp>
      <p:pic>
        <p:nvPicPr>
          <p:cNvPr id="5" name="Afbeelding 4" descr="Afbeelding met Graphics, Lettertype, grafische vormgeving, tekst&#10;&#10;Automatisch gegenereerde beschrijving">
            <a:extLst>
              <a:ext uri="{FF2B5EF4-FFF2-40B4-BE49-F238E27FC236}">
                <a16:creationId xmlns:a16="http://schemas.microsoft.com/office/drawing/2014/main" id="{2599E86C-5A51-F03E-C804-ACB62A07A9A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6" name="Afbeelding 5" descr="Afbeelding met tekst, Lettertype, Elektrisch blauw, schermopname&#10;&#10;Automatisch gegenereerde beschrijving">
            <a:extLst>
              <a:ext uri="{FF2B5EF4-FFF2-40B4-BE49-F238E27FC236}">
                <a16:creationId xmlns:a16="http://schemas.microsoft.com/office/drawing/2014/main" id="{7E57DB04-8326-94A0-AB4F-62A16B38CE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16710253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90937AF2-B12B-B03F-F004-836EF7552141}"/>
              </a:ext>
            </a:extLst>
          </p:cNvPr>
          <p:cNvSpPr>
            <a:spLocks noGrp="1"/>
          </p:cNvSpPr>
          <p:nvPr>
            <p:ph idx="1"/>
          </p:nvPr>
        </p:nvSpPr>
        <p:spPr>
          <a:xfrm>
            <a:off x="680400" y="1253578"/>
            <a:ext cx="11073450" cy="4537075"/>
          </a:xfrm>
        </p:spPr>
        <p:txBody>
          <a:bodyPr/>
          <a:lstStyle/>
          <a:p>
            <a:r>
              <a:rPr lang="nl-NL" dirty="0"/>
              <a:t>Is er een GO vanuit de LAG?</a:t>
            </a:r>
          </a:p>
          <a:p>
            <a:r>
              <a:rPr lang="nl-NL" dirty="0"/>
              <a:t>Dan kun je gaan indienen bij het portaal van RVO.</a:t>
            </a:r>
          </a:p>
          <a:p>
            <a:pPr marL="285750" indent="-285750">
              <a:buFont typeface="Wingdings" panose="05000000000000000000" pitchFamily="2" charset="2"/>
              <a:buChar char="à"/>
            </a:pPr>
            <a:r>
              <a:rPr lang="nl-NL" dirty="0"/>
              <a:t>Ga via </a:t>
            </a:r>
            <a:r>
              <a:rPr lang="nl-NL" dirty="0">
                <a:hlinkClick r:id="rId2"/>
              </a:rPr>
              <a:t>www.rvo.nl/subsidies-financiering/leader-uitvoering-projecten</a:t>
            </a:r>
            <a:r>
              <a:rPr lang="nl-NL" dirty="0"/>
              <a:t> </a:t>
            </a:r>
          </a:p>
          <a:p>
            <a:r>
              <a:rPr lang="nl-NL" dirty="0"/>
              <a:t>naar de pagina voor jouw provincie. Daar kun je de provincie-specifieke </a:t>
            </a:r>
          </a:p>
          <a:p>
            <a:r>
              <a:rPr lang="nl-NL" dirty="0"/>
              <a:t>info vinden en ook de benodigde formats en andere documenten.</a:t>
            </a:r>
          </a:p>
          <a:p>
            <a:pPr marL="285750" indent="-285750">
              <a:buFont typeface="Arial" panose="020B0604020202020204" pitchFamily="34" charset="0"/>
              <a:buChar char="•"/>
            </a:pPr>
            <a:endParaRPr lang="nl-NL" dirty="0"/>
          </a:p>
          <a:p>
            <a:r>
              <a:rPr lang="nl-NL" u="sng" dirty="0"/>
              <a:t>Wat heb je nodig?</a:t>
            </a:r>
          </a:p>
          <a:p>
            <a:pPr marL="342900" indent="-342900">
              <a:buAutoNum type="arabicPeriod"/>
            </a:pPr>
            <a:r>
              <a:rPr lang="nl-NL" dirty="0"/>
              <a:t>Een volledig ingevuld format projectplan.</a:t>
            </a:r>
          </a:p>
          <a:p>
            <a:pPr marL="342900" indent="-342900">
              <a:buAutoNum type="arabicPeriod"/>
            </a:pPr>
            <a:r>
              <a:rPr lang="nl-NL" dirty="0"/>
              <a:t>Een volledig ingevuld format begroting.</a:t>
            </a:r>
          </a:p>
          <a:p>
            <a:pPr marL="342900" indent="-342900">
              <a:buAutoNum type="arabicPeriod"/>
            </a:pPr>
            <a:r>
              <a:rPr lang="nl-NL" dirty="0"/>
              <a:t>Eventueel andere (verplichte) bijlagen. Achterin het format projectplan staat beschreven welke documenten dat zijn.  </a:t>
            </a:r>
          </a:p>
          <a:p>
            <a:pPr marL="342900" indent="-342900">
              <a:buAutoNum type="arabicPeriod"/>
            </a:pPr>
            <a:r>
              <a:rPr lang="nl-NL" dirty="0"/>
              <a:t>E-herkenning 2+ (als de aanvrager een onderneming, stichting, vereniging of gemeente is). Lees </a:t>
            </a:r>
            <a:r>
              <a:rPr lang="nl-NL" dirty="0">
                <a:solidFill>
                  <a:srgbClr val="FF0000"/>
                </a:solidFill>
                <a:hlinkClick r:id="rId3"/>
              </a:rPr>
              <a:t>hier</a:t>
            </a:r>
            <a:r>
              <a:rPr lang="nl-NL" dirty="0">
                <a:solidFill>
                  <a:srgbClr val="FF0000"/>
                </a:solidFill>
              </a:rPr>
              <a:t> </a:t>
            </a:r>
            <a:r>
              <a:rPr lang="nl-NL" dirty="0"/>
              <a:t>meer over E-herkenning.</a:t>
            </a:r>
            <a:br>
              <a:rPr lang="nl-NL" dirty="0"/>
            </a:br>
            <a:r>
              <a:rPr lang="nl-NL" dirty="0"/>
              <a:t>N.B. Inloggen met </a:t>
            </a:r>
            <a:r>
              <a:rPr lang="nl-NL" dirty="0" err="1"/>
              <a:t>DigiD</a:t>
            </a:r>
            <a:r>
              <a:rPr lang="nl-NL" dirty="0"/>
              <a:t> kan alleen als de aanvrager een natuurlijk persoon mag zijn*. </a:t>
            </a:r>
            <a:br>
              <a:rPr lang="nl-NL" dirty="0"/>
            </a:br>
            <a:r>
              <a:rPr lang="nl-NL" sz="1200" i="1" dirty="0"/>
              <a:t>* Controleer in de Openstelling of een aanvraag door een natuurlijk persoon mogelijk is.</a:t>
            </a:r>
            <a:endParaRPr lang="nl-NL" i="1" dirty="0"/>
          </a:p>
          <a:p>
            <a:endParaRPr lang="nl-NL" u="sng" dirty="0"/>
          </a:p>
        </p:txBody>
      </p:sp>
      <p:sp>
        <p:nvSpPr>
          <p:cNvPr id="3" name="Titel 2">
            <a:extLst>
              <a:ext uri="{FF2B5EF4-FFF2-40B4-BE49-F238E27FC236}">
                <a16:creationId xmlns:a16="http://schemas.microsoft.com/office/drawing/2014/main" id="{098D5F03-B256-1EFA-C96D-99A5A7C7E6A9}"/>
              </a:ext>
            </a:extLst>
          </p:cNvPr>
          <p:cNvSpPr>
            <a:spLocks noGrp="1"/>
          </p:cNvSpPr>
          <p:nvPr>
            <p:ph type="title"/>
          </p:nvPr>
        </p:nvSpPr>
        <p:spPr>
          <a:xfrm>
            <a:off x="681038" y="768842"/>
            <a:ext cx="10830562" cy="484736"/>
          </a:xfrm>
        </p:spPr>
        <p:txBody>
          <a:bodyPr/>
          <a:lstStyle/>
          <a:p>
            <a:r>
              <a:rPr lang="nl-NL" dirty="0"/>
              <a:t>1. Wat te doen alvorens het indienen?</a:t>
            </a:r>
          </a:p>
        </p:txBody>
      </p:sp>
      <p:sp>
        <p:nvSpPr>
          <p:cNvPr id="4" name="Tijdelijke aanduiding voor dianummer 3">
            <a:extLst>
              <a:ext uri="{FF2B5EF4-FFF2-40B4-BE49-F238E27FC236}">
                <a16:creationId xmlns:a16="http://schemas.microsoft.com/office/drawing/2014/main" id="{8FE7796C-5BB7-FF4D-409B-E4415EA77F62}"/>
              </a:ext>
            </a:extLst>
          </p:cNvPr>
          <p:cNvSpPr>
            <a:spLocks noGrp="1"/>
          </p:cNvSpPr>
          <p:nvPr>
            <p:ph type="sldNum" sz="quarter" idx="12"/>
          </p:nvPr>
        </p:nvSpPr>
        <p:spPr/>
        <p:txBody>
          <a:bodyPr/>
          <a:lstStyle/>
          <a:p>
            <a:fld id="{10A0A6AF-03C5-477E-939A-E28F7E7F05EA}" type="slidenum">
              <a:rPr lang="nl-NL" smtClean="0"/>
              <a:pPr/>
              <a:t>2</a:t>
            </a:fld>
            <a:endParaRPr lang="nl-NL" dirty="0"/>
          </a:p>
        </p:txBody>
      </p:sp>
      <p:pic>
        <p:nvPicPr>
          <p:cNvPr id="7" name="Afbeelding 6" descr="Afbeelding met Graphics, Lettertype, grafische vormgeving, tekst&#10;&#10;Automatisch gegenereerde beschrijving">
            <a:extLst>
              <a:ext uri="{FF2B5EF4-FFF2-40B4-BE49-F238E27FC236}">
                <a16:creationId xmlns:a16="http://schemas.microsoft.com/office/drawing/2014/main" id="{07372022-EEE4-20F9-3B5A-FDA0D58FCF7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8" name="Afbeelding 7" descr="Afbeelding met tekst, Lettertype, Elektrisch blauw, schermopname&#10;&#10;Automatisch gegenereerde beschrijving">
            <a:extLst>
              <a:ext uri="{FF2B5EF4-FFF2-40B4-BE49-F238E27FC236}">
                <a16:creationId xmlns:a16="http://schemas.microsoft.com/office/drawing/2014/main" id="{C0E4578F-1C4B-A641-EF26-9871ECD159B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139939679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E394CE7C-39FA-3D80-DCF4-8B8E54BAA1C4}"/>
            </a:ext>
          </a:extLst>
        </p:cNvPr>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54FE84FB-FEFD-8AC4-2991-C80942E4E336}"/>
              </a:ext>
            </a:extLst>
          </p:cNvPr>
          <p:cNvSpPr>
            <a:spLocks noGrp="1"/>
          </p:cNvSpPr>
          <p:nvPr>
            <p:ph idx="1"/>
          </p:nvPr>
        </p:nvSpPr>
        <p:spPr>
          <a:xfrm>
            <a:off x="680400" y="1253578"/>
            <a:ext cx="8123237" cy="4537075"/>
          </a:xfrm>
        </p:spPr>
        <p:txBody>
          <a:bodyPr/>
          <a:lstStyle/>
          <a:p>
            <a:pPr marL="285750" indent="-285750">
              <a:buFont typeface="Arial" panose="020B0604020202020204" pitchFamily="34" charset="0"/>
              <a:buChar char="•"/>
            </a:pPr>
            <a:endParaRPr lang="nl-NL" u="sng" dirty="0"/>
          </a:p>
          <a:p>
            <a:r>
              <a:rPr lang="nl-NL" u="sng" dirty="0"/>
              <a:t>Wil je een tussenpersoon machtigen? </a:t>
            </a:r>
          </a:p>
          <a:p>
            <a:pPr marL="285750" indent="-285750">
              <a:buFont typeface="Arial" panose="020B0604020202020204" pitchFamily="34" charset="0"/>
              <a:buChar char="•"/>
            </a:pPr>
            <a:r>
              <a:rPr lang="nl-NL" dirty="0"/>
              <a:t>Zoals een adviesbureau? Dan heeft het adviesbureau ook een relatienummer nodig van RVO. Die krijgt hij/zij automatisch als er voor de eerste keer wordt ingelogd met </a:t>
            </a:r>
            <a:r>
              <a:rPr lang="nl-NL" dirty="0" err="1"/>
              <a:t>eHerkenning</a:t>
            </a:r>
            <a:r>
              <a:rPr lang="nl-NL" dirty="0"/>
              <a:t> 2+.</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De machtiging regel je vooraf via </a:t>
            </a:r>
            <a:r>
              <a:rPr lang="nl-NL" dirty="0">
                <a:hlinkClick r:id="rId2"/>
              </a:rPr>
              <a:t>https://mijn.rvo.nl/machtigingen</a:t>
            </a:r>
            <a:r>
              <a:rPr lang="nl-NL" dirty="0"/>
              <a:t>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Klik vervolgens op ‘’Intermediair subsidies’’ en dan ‘’Machtigen’’. Doorloop het online formulier, de machtiging is binnen 1 werkdag actief.</a:t>
            </a:r>
          </a:p>
        </p:txBody>
      </p:sp>
      <p:sp>
        <p:nvSpPr>
          <p:cNvPr id="3" name="Titel 2">
            <a:extLst>
              <a:ext uri="{FF2B5EF4-FFF2-40B4-BE49-F238E27FC236}">
                <a16:creationId xmlns:a16="http://schemas.microsoft.com/office/drawing/2014/main" id="{0FC8D6B6-A791-C74E-ABF7-FC9D49EC023D}"/>
              </a:ext>
            </a:extLst>
          </p:cNvPr>
          <p:cNvSpPr>
            <a:spLocks noGrp="1"/>
          </p:cNvSpPr>
          <p:nvPr>
            <p:ph type="title"/>
          </p:nvPr>
        </p:nvSpPr>
        <p:spPr/>
        <p:txBody>
          <a:bodyPr/>
          <a:lstStyle/>
          <a:p>
            <a:r>
              <a:rPr lang="nl-NL" dirty="0"/>
              <a:t>1. Wat te doen alvorens het indienen?	</a:t>
            </a:r>
          </a:p>
        </p:txBody>
      </p:sp>
      <p:sp>
        <p:nvSpPr>
          <p:cNvPr id="4" name="Tijdelijke aanduiding voor dianummer 3">
            <a:extLst>
              <a:ext uri="{FF2B5EF4-FFF2-40B4-BE49-F238E27FC236}">
                <a16:creationId xmlns:a16="http://schemas.microsoft.com/office/drawing/2014/main" id="{D6C2FF36-7F8E-8DC4-7440-B5FE037636ED}"/>
              </a:ext>
            </a:extLst>
          </p:cNvPr>
          <p:cNvSpPr>
            <a:spLocks noGrp="1"/>
          </p:cNvSpPr>
          <p:nvPr>
            <p:ph type="sldNum" sz="quarter" idx="12"/>
          </p:nvPr>
        </p:nvSpPr>
        <p:spPr/>
        <p:txBody>
          <a:bodyPr/>
          <a:lstStyle/>
          <a:p>
            <a:fld id="{10A0A6AF-03C5-477E-939A-E28F7E7F05EA}" type="slidenum">
              <a:rPr lang="nl-NL" smtClean="0"/>
              <a:pPr/>
              <a:t>3</a:t>
            </a:fld>
            <a:endParaRPr lang="nl-NL" dirty="0"/>
          </a:p>
        </p:txBody>
      </p:sp>
      <p:pic>
        <p:nvPicPr>
          <p:cNvPr id="5" name="Afbeelding 4" descr="Afbeelding met Graphics, Lettertype, grafische vormgeving, tekst&#10;&#10;Automatisch gegenereerde beschrijving">
            <a:extLst>
              <a:ext uri="{FF2B5EF4-FFF2-40B4-BE49-F238E27FC236}">
                <a16:creationId xmlns:a16="http://schemas.microsoft.com/office/drawing/2014/main" id="{3EDD808A-89FE-1CCA-F657-F4B7D0BA414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6" name="Afbeelding 5" descr="Afbeelding met tekst, Lettertype, Elektrisch blauw, schermopname&#10;&#10;Automatisch gegenereerde beschrijving">
            <a:extLst>
              <a:ext uri="{FF2B5EF4-FFF2-40B4-BE49-F238E27FC236}">
                <a16:creationId xmlns:a16="http://schemas.microsoft.com/office/drawing/2014/main" id="{4B3C704A-A293-D6F2-CCCF-C7EAEBC33C1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161436550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BCED5932-13BA-69B5-474B-92E335D532D1}"/>
              </a:ext>
            </a:extLst>
          </p:cNvPr>
          <p:cNvSpPr>
            <a:spLocks noGrp="1"/>
          </p:cNvSpPr>
          <p:nvPr>
            <p:ph idx="1"/>
          </p:nvPr>
        </p:nvSpPr>
        <p:spPr>
          <a:xfrm>
            <a:off x="680400" y="1371600"/>
            <a:ext cx="11111550" cy="4849813"/>
          </a:xfrm>
        </p:spPr>
        <p:txBody>
          <a:bodyPr/>
          <a:lstStyle/>
          <a:p>
            <a:pPr marL="342900" indent="-342900">
              <a:buAutoNum type="arabicPeriod"/>
            </a:pPr>
            <a:r>
              <a:rPr lang="nl-NL" dirty="0"/>
              <a:t>Ga naar </a:t>
            </a:r>
            <a:r>
              <a:rPr lang="nl-NL" dirty="0">
                <a:hlinkClick r:id="rId2"/>
              </a:rPr>
              <a:t>LEADER uitvoering projecten - Klantportaal-Site | Mijn RVO</a:t>
            </a:r>
            <a:endParaRPr lang="nl-NL" dirty="0"/>
          </a:p>
          <a:p>
            <a:pPr marL="342900" indent="-342900">
              <a:buAutoNum type="arabicPeriod"/>
            </a:pPr>
            <a:r>
              <a:rPr lang="nl-NL" dirty="0"/>
              <a:t>Kies het juiste LEADER-gebied waar je de aanvraag wilt indienen.</a:t>
            </a:r>
          </a:p>
          <a:p>
            <a:endParaRPr lang="nl-NL" dirty="0"/>
          </a:p>
          <a:p>
            <a:r>
              <a:rPr lang="nl-NL" dirty="0"/>
              <a:t>Let op: al eerder met een aanvraag begonnen? Klik dan </a:t>
            </a:r>
          </a:p>
          <a:p>
            <a:r>
              <a:rPr lang="nl-NL" dirty="0"/>
              <a:t>op ‘’Aanvraag beheren’’ zodat je verder kan waar je </a:t>
            </a:r>
          </a:p>
          <a:p>
            <a:r>
              <a:rPr lang="nl-NL" dirty="0"/>
              <a:t>gebleven was met de aanvraag.</a:t>
            </a:r>
          </a:p>
          <a:p>
            <a:endParaRPr lang="nl-NL" dirty="0"/>
          </a:p>
          <a:p>
            <a:r>
              <a:rPr lang="nl-NL" dirty="0"/>
              <a:t>3. Log vervolgens in met </a:t>
            </a:r>
            <a:r>
              <a:rPr lang="nl-NL" dirty="0" err="1"/>
              <a:t>eHerkenning</a:t>
            </a:r>
            <a:r>
              <a:rPr lang="nl-NL" dirty="0"/>
              <a:t> (minstens 2+) of </a:t>
            </a:r>
            <a:r>
              <a:rPr lang="nl-NL" dirty="0" err="1"/>
              <a:t>DigiD</a:t>
            </a:r>
            <a:r>
              <a:rPr lang="nl-NL" dirty="0"/>
              <a:t> (alleen wanneer de openstelling dit toestaat). Is de aanvrager een onderneming, stichting, vereniging of gemeente? </a:t>
            </a:r>
          </a:p>
          <a:p>
            <a:r>
              <a:rPr lang="nl-NL" dirty="0"/>
              <a:t>Log dan altijd in met de </a:t>
            </a:r>
            <a:r>
              <a:rPr lang="nl-NL" dirty="0" err="1"/>
              <a:t>eHerkenning</a:t>
            </a:r>
            <a:r>
              <a:rPr lang="nl-NL" dirty="0"/>
              <a:t> daarvan, en niet met je eigen </a:t>
            </a:r>
            <a:r>
              <a:rPr lang="nl-NL" dirty="0" err="1"/>
              <a:t>DigiD</a:t>
            </a:r>
            <a:r>
              <a:rPr lang="nl-NL" dirty="0"/>
              <a:t>.</a:t>
            </a:r>
          </a:p>
          <a:p>
            <a:endParaRPr lang="nl-NL" dirty="0"/>
          </a:p>
          <a:p>
            <a:r>
              <a:rPr lang="nl-NL" dirty="0"/>
              <a:t>4. Nu verschijnt het digitale aanvraagformulier. </a:t>
            </a:r>
            <a:br>
              <a:rPr lang="nl-NL" dirty="0"/>
            </a:br>
            <a:r>
              <a:rPr lang="nl-NL" b="1" u="sng" dirty="0"/>
              <a:t>Belangrijk: </a:t>
            </a:r>
            <a:r>
              <a:rPr lang="nl-NL" dirty="0"/>
              <a:t>Vergeet niet tussendoor regelmatig (na invullen van iedere pagina) op ‘’opslaan’’ te klikken! </a:t>
            </a:r>
          </a:p>
          <a:p>
            <a:endParaRPr lang="nl-NL" dirty="0"/>
          </a:p>
          <a:p>
            <a:r>
              <a:rPr lang="nl-NL" dirty="0"/>
              <a:t>5. Op de volgende dia’s zie je tips en tricks voor elk van de pagina’s van de aanvraag.</a:t>
            </a:r>
          </a:p>
          <a:p>
            <a:endParaRPr lang="nl-NL" dirty="0"/>
          </a:p>
          <a:p>
            <a:r>
              <a:rPr lang="nl-NL" dirty="0"/>
              <a:t> </a:t>
            </a:r>
          </a:p>
        </p:txBody>
      </p:sp>
      <p:sp>
        <p:nvSpPr>
          <p:cNvPr id="3" name="Titel 2">
            <a:extLst>
              <a:ext uri="{FF2B5EF4-FFF2-40B4-BE49-F238E27FC236}">
                <a16:creationId xmlns:a16="http://schemas.microsoft.com/office/drawing/2014/main" id="{C308B64A-BD5E-2849-7C8C-F43F25B88E57}"/>
              </a:ext>
            </a:extLst>
          </p:cNvPr>
          <p:cNvSpPr>
            <a:spLocks noGrp="1"/>
          </p:cNvSpPr>
          <p:nvPr>
            <p:ph type="title"/>
          </p:nvPr>
        </p:nvSpPr>
        <p:spPr/>
        <p:txBody>
          <a:bodyPr/>
          <a:lstStyle/>
          <a:p>
            <a:r>
              <a:rPr lang="nl-NL" dirty="0"/>
              <a:t>2. Beginnen met de aanvraag	</a:t>
            </a:r>
          </a:p>
        </p:txBody>
      </p:sp>
      <p:sp>
        <p:nvSpPr>
          <p:cNvPr id="4" name="Tijdelijke aanduiding voor dianummer 3">
            <a:extLst>
              <a:ext uri="{FF2B5EF4-FFF2-40B4-BE49-F238E27FC236}">
                <a16:creationId xmlns:a16="http://schemas.microsoft.com/office/drawing/2014/main" id="{759A357C-DB23-6230-102E-800A49DBE571}"/>
              </a:ext>
            </a:extLst>
          </p:cNvPr>
          <p:cNvSpPr>
            <a:spLocks noGrp="1"/>
          </p:cNvSpPr>
          <p:nvPr>
            <p:ph type="sldNum" sz="quarter" idx="12"/>
          </p:nvPr>
        </p:nvSpPr>
        <p:spPr/>
        <p:txBody>
          <a:bodyPr/>
          <a:lstStyle/>
          <a:p>
            <a:fld id="{10A0A6AF-03C5-477E-939A-E28F7E7F05EA}" type="slidenum">
              <a:rPr lang="nl-NL" smtClean="0"/>
              <a:pPr/>
              <a:t>4</a:t>
            </a:fld>
            <a:endParaRPr lang="nl-NL" dirty="0"/>
          </a:p>
        </p:txBody>
      </p:sp>
      <p:pic>
        <p:nvPicPr>
          <p:cNvPr id="6" name="Afbeelding 5">
            <a:extLst>
              <a:ext uri="{FF2B5EF4-FFF2-40B4-BE49-F238E27FC236}">
                <a16:creationId xmlns:a16="http://schemas.microsoft.com/office/drawing/2014/main" id="{0C410440-8505-54A8-5BE3-ED90D7CB49D8}"/>
              </a:ext>
            </a:extLst>
          </p:cNvPr>
          <p:cNvPicPr>
            <a:picLocks noChangeAspect="1"/>
          </p:cNvPicPr>
          <p:nvPr/>
        </p:nvPicPr>
        <p:blipFill>
          <a:blip r:embed="rId3"/>
          <a:stretch>
            <a:fillRect/>
          </a:stretch>
        </p:blipFill>
        <p:spPr>
          <a:xfrm>
            <a:off x="7477284" y="2109016"/>
            <a:ext cx="2545556" cy="1110434"/>
          </a:xfrm>
          <a:prstGeom prst="rect">
            <a:avLst/>
          </a:prstGeom>
        </p:spPr>
      </p:pic>
      <p:pic>
        <p:nvPicPr>
          <p:cNvPr id="5" name="Afbeelding 4" descr="Afbeelding met Graphics, Lettertype, grafische vormgeving, tekst&#10;&#10;Automatisch gegenereerde beschrijving">
            <a:extLst>
              <a:ext uri="{FF2B5EF4-FFF2-40B4-BE49-F238E27FC236}">
                <a16:creationId xmlns:a16="http://schemas.microsoft.com/office/drawing/2014/main" id="{FAB2A29D-C5B0-F1FE-38A3-A93F73A2E8D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7" name="Afbeelding 6" descr="Afbeelding met tekst, Lettertype, Elektrisch blauw, schermopname&#10;&#10;Automatisch gegenereerde beschrijving">
            <a:extLst>
              <a:ext uri="{FF2B5EF4-FFF2-40B4-BE49-F238E27FC236}">
                <a16:creationId xmlns:a16="http://schemas.microsoft.com/office/drawing/2014/main" id="{15C8FAD5-E45B-5B12-4F64-D513460FF0C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23344418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EBC8F025-75B1-5182-D8B8-A049D4C842BF}"/>
              </a:ext>
            </a:extLst>
          </p:cNvPr>
          <p:cNvPicPr>
            <a:picLocks noChangeAspect="1"/>
          </p:cNvPicPr>
          <p:nvPr/>
        </p:nvPicPr>
        <p:blipFill>
          <a:blip r:embed="rId2"/>
          <a:stretch>
            <a:fillRect/>
          </a:stretch>
        </p:blipFill>
        <p:spPr>
          <a:xfrm>
            <a:off x="5956735" y="5173662"/>
            <a:ext cx="5918082" cy="1402080"/>
          </a:xfrm>
          <a:prstGeom prst="rect">
            <a:avLst/>
          </a:prstGeom>
        </p:spPr>
      </p:pic>
      <p:pic>
        <p:nvPicPr>
          <p:cNvPr id="6" name="Afbeelding 5">
            <a:extLst>
              <a:ext uri="{FF2B5EF4-FFF2-40B4-BE49-F238E27FC236}">
                <a16:creationId xmlns:a16="http://schemas.microsoft.com/office/drawing/2014/main" id="{C2CD4440-E02F-2045-8851-CFFC83F88AB8}"/>
              </a:ext>
            </a:extLst>
          </p:cNvPr>
          <p:cNvPicPr>
            <a:picLocks noChangeAspect="1"/>
          </p:cNvPicPr>
          <p:nvPr/>
        </p:nvPicPr>
        <p:blipFill>
          <a:blip r:embed="rId3"/>
          <a:stretch>
            <a:fillRect/>
          </a:stretch>
        </p:blipFill>
        <p:spPr>
          <a:xfrm>
            <a:off x="6345084" y="401766"/>
            <a:ext cx="5605933" cy="3105380"/>
          </a:xfrm>
          <a:prstGeom prst="rect">
            <a:avLst/>
          </a:prstGeom>
        </p:spPr>
      </p:pic>
      <p:sp>
        <p:nvSpPr>
          <p:cNvPr id="2" name="Tijdelijke aanduiding voor inhoud 1">
            <a:extLst>
              <a:ext uri="{FF2B5EF4-FFF2-40B4-BE49-F238E27FC236}">
                <a16:creationId xmlns:a16="http://schemas.microsoft.com/office/drawing/2014/main" id="{86C61900-B3A3-D0C7-EB7D-D4B61A5CD9C5}"/>
              </a:ext>
            </a:extLst>
          </p:cNvPr>
          <p:cNvSpPr>
            <a:spLocks noGrp="1"/>
          </p:cNvSpPr>
          <p:nvPr>
            <p:ph idx="1"/>
          </p:nvPr>
        </p:nvSpPr>
        <p:spPr>
          <a:xfrm>
            <a:off x="680401" y="1684338"/>
            <a:ext cx="7023420" cy="2535237"/>
          </a:xfrm>
        </p:spPr>
        <p:txBody>
          <a:bodyPr/>
          <a:lstStyle/>
          <a:p>
            <a:r>
              <a:rPr lang="nl-NL" dirty="0"/>
              <a:t>Op de eerste pagina staan als eerst de relatiegegevens en wordt er info uitgevraagd over de aanvrager. Het relatie-</a:t>
            </a:r>
          </a:p>
          <a:p>
            <a:pPr>
              <a:tabLst>
                <a:tab pos="266700" algn="l"/>
              </a:tabLst>
            </a:pPr>
            <a:r>
              <a:rPr lang="nl-NL" dirty="0"/>
              <a:t>nummer krijg je automatisch als je een aanvraag start.</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1: Staat er achter </a:t>
            </a:r>
            <a:r>
              <a:rPr lang="nl-NL" b="1" dirty="0"/>
              <a:t>rekeningnummer</a:t>
            </a:r>
            <a:r>
              <a:rPr lang="nl-NL" dirty="0"/>
              <a:t> ‘’onbekend’’? Dan is het handig om je rekeningnummer op te geven, waarop de eventuele subsidie uitbetaald mag worden. Dit kan via mijn.rvo.nl &gt; inloggen &gt; ‘’mijn gegevens’’ &gt; ‘’gegevens wijzigen’’</a:t>
            </a:r>
          </a:p>
        </p:txBody>
      </p:sp>
      <p:sp>
        <p:nvSpPr>
          <p:cNvPr id="3" name="Titel 2">
            <a:extLst>
              <a:ext uri="{FF2B5EF4-FFF2-40B4-BE49-F238E27FC236}">
                <a16:creationId xmlns:a16="http://schemas.microsoft.com/office/drawing/2014/main" id="{8A0CE894-68C8-F96D-F4E3-CF50E6AE2A4A}"/>
              </a:ext>
            </a:extLst>
          </p:cNvPr>
          <p:cNvSpPr>
            <a:spLocks noGrp="1"/>
          </p:cNvSpPr>
          <p:nvPr>
            <p:ph type="title"/>
          </p:nvPr>
        </p:nvSpPr>
        <p:spPr>
          <a:xfrm>
            <a:off x="589598" y="311642"/>
            <a:ext cx="5605933" cy="915496"/>
          </a:xfrm>
        </p:spPr>
        <p:txBody>
          <a:bodyPr/>
          <a:lstStyle/>
          <a:p>
            <a:r>
              <a:rPr lang="nl-NL" dirty="0"/>
              <a:t>Aanvraagformulier subsidie</a:t>
            </a:r>
          </a:p>
        </p:txBody>
      </p:sp>
      <p:sp>
        <p:nvSpPr>
          <p:cNvPr id="4" name="Tijdelijke aanduiding voor dianummer 3">
            <a:extLst>
              <a:ext uri="{FF2B5EF4-FFF2-40B4-BE49-F238E27FC236}">
                <a16:creationId xmlns:a16="http://schemas.microsoft.com/office/drawing/2014/main" id="{4C4DF25F-3DAB-0EC4-B271-87BB1793D226}"/>
              </a:ext>
            </a:extLst>
          </p:cNvPr>
          <p:cNvSpPr>
            <a:spLocks noGrp="1"/>
          </p:cNvSpPr>
          <p:nvPr>
            <p:ph type="sldNum" sz="quarter" idx="12"/>
          </p:nvPr>
        </p:nvSpPr>
        <p:spPr/>
        <p:txBody>
          <a:bodyPr/>
          <a:lstStyle/>
          <a:p>
            <a:fld id="{10A0A6AF-03C5-477E-939A-E28F7E7F05EA}" type="slidenum">
              <a:rPr lang="nl-NL" smtClean="0"/>
              <a:pPr/>
              <a:t>5</a:t>
            </a:fld>
            <a:endParaRPr lang="nl-NL" dirty="0"/>
          </a:p>
        </p:txBody>
      </p:sp>
      <p:sp>
        <p:nvSpPr>
          <p:cNvPr id="5" name="Tekstvak 4">
            <a:extLst>
              <a:ext uri="{FF2B5EF4-FFF2-40B4-BE49-F238E27FC236}">
                <a16:creationId xmlns:a16="http://schemas.microsoft.com/office/drawing/2014/main" id="{8F256FEB-4885-8C87-DF12-B799AB491B36}"/>
              </a:ext>
            </a:extLst>
          </p:cNvPr>
          <p:cNvSpPr txBox="1"/>
          <p:nvPr/>
        </p:nvSpPr>
        <p:spPr>
          <a:xfrm>
            <a:off x="589598" y="4259759"/>
            <a:ext cx="11202352" cy="1477328"/>
          </a:xfrm>
          <a:prstGeom prst="rect">
            <a:avLst/>
          </a:prstGeom>
          <a:noFill/>
        </p:spPr>
        <p:txBody>
          <a:bodyPr wrap="square" rtlCol="0">
            <a:spAutoFit/>
          </a:bodyPr>
          <a:lstStyle/>
          <a:p>
            <a:pPr marL="285750" indent="-285750">
              <a:buFont typeface="Arial" panose="020B0604020202020204" pitchFamily="34" charset="0"/>
              <a:buChar char="•"/>
            </a:pPr>
            <a:r>
              <a:rPr lang="nl-NL" dirty="0"/>
              <a:t>Tip 2: Er wordt gevraagd naar een </a:t>
            </a:r>
            <a:r>
              <a:rPr lang="nl-NL" b="1" dirty="0"/>
              <a:t>aanbestedingsplicht</a:t>
            </a:r>
            <a:r>
              <a:rPr lang="nl-NL" dirty="0"/>
              <a:t>. Dit geldt vaak voor overheidsinstanties zoals gemeentes die aanvrager zijn. Geen idee wat aanbestedingsplicht inhoudt? Dan ben je dat ook hoogstwaarschijnlijk niet (als onderneming, maatschappelijke organisatie of particulier).</a:t>
            </a:r>
          </a:p>
          <a:p>
            <a:endParaRPr lang="nl-NL" dirty="0"/>
          </a:p>
        </p:txBody>
      </p:sp>
      <p:pic>
        <p:nvPicPr>
          <p:cNvPr id="9" name="Afbeelding 8" descr="Afbeelding met tekst, Lettertype, Elektrisch blauw, schermopname&#10;&#10;Automatisch gegenereerde beschrijving">
            <a:extLst>
              <a:ext uri="{FF2B5EF4-FFF2-40B4-BE49-F238E27FC236}">
                <a16:creationId xmlns:a16="http://schemas.microsoft.com/office/drawing/2014/main" id="{BA56FABF-1F60-6A13-325F-5720667B8DD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42568865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AB476012-96C2-7F5E-712D-6AE1CAA52167}"/>
              </a:ext>
            </a:extLst>
          </p:cNvPr>
          <p:cNvSpPr>
            <a:spLocks noGrp="1"/>
          </p:cNvSpPr>
          <p:nvPr>
            <p:ph idx="1"/>
          </p:nvPr>
        </p:nvSpPr>
        <p:spPr>
          <a:xfrm>
            <a:off x="397937" y="1293562"/>
            <a:ext cx="10031937" cy="4537075"/>
          </a:xfrm>
        </p:spPr>
        <p:txBody>
          <a:bodyPr/>
          <a:lstStyle/>
          <a:p>
            <a:r>
              <a:rPr lang="nl-NL" sz="1500" dirty="0"/>
              <a:t>Op de tweede pagina wordt er informatie uitgevraagd over het project </a:t>
            </a:r>
            <a:br>
              <a:rPr lang="nl-NL" sz="1500" dirty="0"/>
            </a:br>
            <a:r>
              <a:rPr lang="nl-NL" sz="1500" dirty="0"/>
              <a:t>en de projectdoelen. Veel van deze informatie kun je kopiëren uit het format projectplan.</a:t>
            </a:r>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1: De </a:t>
            </a:r>
            <a:r>
              <a:rPr lang="nl-NL" sz="1500" b="1" dirty="0"/>
              <a:t>projectsamenvatting</a:t>
            </a:r>
            <a:r>
              <a:rPr lang="nl-NL" sz="1500" dirty="0"/>
              <a:t> kan je overnemen vanuit het projectplan (2.B). </a:t>
            </a:r>
            <a:br>
              <a:rPr lang="nl-NL" sz="1500" dirty="0"/>
            </a:br>
            <a:r>
              <a:rPr lang="nl-NL" sz="1500" dirty="0"/>
              <a:t>Deze wordt gebruikt voor communicatiedoeleinden.</a:t>
            </a:r>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2: De </a:t>
            </a:r>
            <a:r>
              <a:rPr lang="nl-NL" sz="1500" b="1" dirty="0"/>
              <a:t>startdatum</a:t>
            </a:r>
            <a:r>
              <a:rPr lang="nl-NL" sz="1500" dirty="0"/>
              <a:t> van het project is de datum vanaf wanneer je project-uitvoeringskosten</a:t>
            </a:r>
            <a:br>
              <a:rPr lang="nl-NL" sz="1500" dirty="0"/>
            </a:br>
            <a:r>
              <a:rPr lang="nl-NL" sz="1500" dirty="0"/>
              <a:t>voor LEADER maakt óf opdracht geeft om uitvoeringskosten te maken. Kies altijd de meest vroege datum! N.B. De startdatum moet altijd </a:t>
            </a:r>
            <a:r>
              <a:rPr lang="nl-NL" sz="1500" u="sng" dirty="0"/>
              <a:t>na</a:t>
            </a:r>
            <a:r>
              <a:rPr lang="nl-NL" sz="1500" dirty="0"/>
              <a:t> de datum liggen waarop je de subsidieaanvraag indient. Voorbereidingskosten </a:t>
            </a:r>
            <a:r>
              <a:rPr lang="nl-NL" sz="1500" dirty="0" err="1"/>
              <a:t>tbv</a:t>
            </a:r>
            <a:r>
              <a:rPr lang="nl-NL" sz="1500" dirty="0"/>
              <a:t> opstellen van het plan kunnen wel vóór de startdatum gemaakt zijn (maximaal 1 jaar).</a:t>
            </a:r>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3: Vul bij</a:t>
            </a:r>
            <a:r>
              <a:rPr lang="nl-NL" sz="1500" b="1" dirty="0"/>
              <a:t> projectlocatie </a:t>
            </a:r>
            <a:r>
              <a:rPr lang="nl-NL" sz="1500" dirty="0"/>
              <a:t>indien mogelijk het adres in. Als dit niet het exacte adres is of als er sprake is van een regionaal project, geef dit dan aan bij de toelichting. </a:t>
            </a:r>
            <a:r>
              <a:rPr lang="nl-NL" sz="1800" dirty="0">
                <a:effectLst/>
                <a:latin typeface="Segoe UI" panose="020B0502040204020203" pitchFamily="34" charset="0"/>
              </a:rPr>
              <a:t>Of stuur een plattegrondje of situatietekening mee.</a:t>
            </a:r>
            <a:endParaRPr lang="nl-NL" sz="1500" dirty="0"/>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4: Er wordt ook gevraagd naar het </a:t>
            </a:r>
            <a:r>
              <a:rPr lang="nl-NL" sz="1500" b="1" dirty="0"/>
              <a:t>resultaat</a:t>
            </a:r>
            <a:r>
              <a:rPr lang="nl-NL" sz="1500" dirty="0"/>
              <a:t> van het project. Hiermee wordt het concrete eindresultaat van het project bedoeld. Neem dit over uit het projectplan.</a:t>
            </a:r>
          </a:p>
          <a:p>
            <a:endParaRPr lang="nl-NL" sz="1500" i="1" dirty="0"/>
          </a:p>
        </p:txBody>
      </p:sp>
      <p:sp>
        <p:nvSpPr>
          <p:cNvPr id="3" name="Titel 2">
            <a:extLst>
              <a:ext uri="{FF2B5EF4-FFF2-40B4-BE49-F238E27FC236}">
                <a16:creationId xmlns:a16="http://schemas.microsoft.com/office/drawing/2014/main" id="{B8426E75-279F-7126-5E5C-7651806F93FE}"/>
              </a:ext>
            </a:extLst>
          </p:cNvPr>
          <p:cNvSpPr>
            <a:spLocks noGrp="1"/>
          </p:cNvSpPr>
          <p:nvPr>
            <p:ph type="title"/>
          </p:nvPr>
        </p:nvSpPr>
        <p:spPr>
          <a:xfrm>
            <a:off x="680401" y="246976"/>
            <a:ext cx="10830562" cy="915496"/>
          </a:xfrm>
        </p:spPr>
        <p:txBody>
          <a:bodyPr/>
          <a:lstStyle/>
          <a:p>
            <a:r>
              <a:rPr lang="nl-NL" dirty="0"/>
              <a:t>Aanvraagformulier</a:t>
            </a:r>
            <a:br>
              <a:rPr lang="nl-NL" dirty="0"/>
            </a:br>
            <a:r>
              <a:rPr lang="nl-NL" dirty="0"/>
              <a:t>projectinformatie</a:t>
            </a:r>
          </a:p>
        </p:txBody>
      </p:sp>
      <p:sp>
        <p:nvSpPr>
          <p:cNvPr id="4" name="Tijdelijke aanduiding voor dianummer 3">
            <a:extLst>
              <a:ext uri="{FF2B5EF4-FFF2-40B4-BE49-F238E27FC236}">
                <a16:creationId xmlns:a16="http://schemas.microsoft.com/office/drawing/2014/main" id="{ACE3D45D-390F-E53C-B083-C86EA12E8097}"/>
              </a:ext>
            </a:extLst>
          </p:cNvPr>
          <p:cNvSpPr>
            <a:spLocks noGrp="1"/>
          </p:cNvSpPr>
          <p:nvPr>
            <p:ph type="sldNum" sz="quarter" idx="12"/>
          </p:nvPr>
        </p:nvSpPr>
        <p:spPr/>
        <p:txBody>
          <a:bodyPr/>
          <a:lstStyle/>
          <a:p>
            <a:fld id="{10A0A6AF-03C5-477E-939A-E28F7E7F05EA}" type="slidenum">
              <a:rPr lang="nl-NL" smtClean="0"/>
              <a:pPr/>
              <a:t>6</a:t>
            </a:fld>
            <a:endParaRPr lang="nl-NL" dirty="0"/>
          </a:p>
        </p:txBody>
      </p:sp>
      <p:pic>
        <p:nvPicPr>
          <p:cNvPr id="8" name="Afbeelding 7">
            <a:extLst>
              <a:ext uri="{FF2B5EF4-FFF2-40B4-BE49-F238E27FC236}">
                <a16:creationId xmlns:a16="http://schemas.microsoft.com/office/drawing/2014/main" id="{B2E6CFC5-0596-BFE0-9C6F-A2280B3678EA}"/>
              </a:ext>
            </a:extLst>
          </p:cNvPr>
          <p:cNvPicPr>
            <a:picLocks noChangeAspect="1"/>
          </p:cNvPicPr>
          <p:nvPr/>
        </p:nvPicPr>
        <p:blipFill>
          <a:blip r:embed="rId2"/>
          <a:stretch>
            <a:fillRect/>
          </a:stretch>
        </p:blipFill>
        <p:spPr>
          <a:xfrm>
            <a:off x="7575907" y="326697"/>
            <a:ext cx="4371672" cy="1177675"/>
          </a:xfrm>
          <a:prstGeom prst="rect">
            <a:avLst/>
          </a:prstGeom>
        </p:spPr>
      </p:pic>
      <p:pic>
        <p:nvPicPr>
          <p:cNvPr id="10" name="Afbeelding 9">
            <a:extLst>
              <a:ext uri="{FF2B5EF4-FFF2-40B4-BE49-F238E27FC236}">
                <a16:creationId xmlns:a16="http://schemas.microsoft.com/office/drawing/2014/main" id="{0F2B17F0-6356-0B16-1B36-47B2589A5879}"/>
              </a:ext>
            </a:extLst>
          </p:cNvPr>
          <p:cNvPicPr>
            <a:picLocks noChangeAspect="1"/>
          </p:cNvPicPr>
          <p:nvPr/>
        </p:nvPicPr>
        <p:blipFill rotWithShape="1">
          <a:blip r:embed="rId3"/>
          <a:srcRect t="1" r="46650" b="-555"/>
          <a:stretch/>
        </p:blipFill>
        <p:spPr>
          <a:xfrm>
            <a:off x="7327559" y="5577473"/>
            <a:ext cx="3700083" cy="506327"/>
          </a:xfrm>
          <a:prstGeom prst="rect">
            <a:avLst/>
          </a:prstGeom>
        </p:spPr>
      </p:pic>
      <p:pic>
        <p:nvPicPr>
          <p:cNvPr id="5" name="Afbeelding 4" descr="Afbeelding met Graphics, Lettertype, grafische vormgeving, tekst&#10;&#10;Automatisch gegenereerde beschrijving">
            <a:extLst>
              <a:ext uri="{FF2B5EF4-FFF2-40B4-BE49-F238E27FC236}">
                <a16:creationId xmlns:a16="http://schemas.microsoft.com/office/drawing/2014/main" id="{6760F302-EE1D-7300-FA5D-1ECDCF0ADC3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6" name="Afbeelding 5" descr="Afbeelding met tekst, Lettertype, Elektrisch blauw, schermopname&#10;&#10;Automatisch gegenereerde beschrijving">
            <a:extLst>
              <a:ext uri="{FF2B5EF4-FFF2-40B4-BE49-F238E27FC236}">
                <a16:creationId xmlns:a16="http://schemas.microsoft.com/office/drawing/2014/main" id="{2B2C7A40-157F-46E0-E351-2BA74CBCC44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9188754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2033EAF8-34C7-D09C-B76D-DF65DAAD35DA}"/>
              </a:ext>
            </a:extLst>
          </p:cNvPr>
          <p:cNvPicPr>
            <a:picLocks noChangeAspect="1"/>
          </p:cNvPicPr>
          <p:nvPr/>
        </p:nvPicPr>
        <p:blipFill>
          <a:blip r:embed="rId2"/>
          <a:srcRect r="6699"/>
          <a:stretch/>
        </p:blipFill>
        <p:spPr>
          <a:xfrm>
            <a:off x="8263997" y="3063348"/>
            <a:ext cx="3997925" cy="2290235"/>
          </a:xfrm>
          <a:prstGeom prst="rect">
            <a:avLst/>
          </a:prstGeom>
        </p:spPr>
      </p:pic>
      <p:pic>
        <p:nvPicPr>
          <p:cNvPr id="6" name="Afbeelding 5">
            <a:extLst>
              <a:ext uri="{FF2B5EF4-FFF2-40B4-BE49-F238E27FC236}">
                <a16:creationId xmlns:a16="http://schemas.microsoft.com/office/drawing/2014/main" id="{7BB51607-D9C1-E9C0-7DAE-C262D08AD790}"/>
              </a:ext>
            </a:extLst>
          </p:cNvPr>
          <p:cNvPicPr>
            <a:picLocks noChangeAspect="1"/>
          </p:cNvPicPr>
          <p:nvPr/>
        </p:nvPicPr>
        <p:blipFill>
          <a:blip r:embed="rId3"/>
          <a:stretch>
            <a:fillRect/>
          </a:stretch>
        </p:blipFill>
        <p:spPr>
          <a:xfrm>
            <a:off x="8136615" y="1504417"/>
            <a:ext cx="4125307" cy="1592141"/>
          </a:xfrm>
          <a:prstGeom prst="rect">
            <a:avLst/>
          </a:prstGeom>
        </p:spPr>
      </p:pic>
      <p:sp>
        <p:nvSpPr>
          <p:cNvPr id="2" name="Tijdelijke aanduiding voor inhoud 1">
            <a:extLst>
              <a:ext uri="{FF2B5EF4-FFF2-40B4-BE49-F238E27FC236}">
                <a16:creationId xmlns:a16="http://schemas.microsoft.com/office/drawing/2014/main" id="{AB476012-96C2-7F5E-712D-6AE1CAA52167}"/>
              </a:ext>
            </a:extLst>
          </p:cNvPr>
          <p:cNvSpPr>
            <a:spLocks noGrp="1"/>
          </p:cNvSpPr>
          <p:nvPr>
            <p:ph idx="1"/>
          </p:nvPr>
        </p:nvSpPr>
        <p:spPr>
          <a:xfrm>
            <a:off x="397938" y="1293562"/>
            <a:ext cx="8155056" cy="4537075"/>
          </a:xfrm>
        </p:spPr>
        <p:txBody>
          <a:bodyPr/>
          <a:lstStyle/>
          <a:p>
            <a:pPr marL="285750" indent="-285750">
              <a:buFont typeface="Arial" panose="020B0604020202020204" pitchFamily="34" charset="0"/>
              <a:buChar char="•"/>
            </a:pPr>
            <a:r>
              <a:rPr lang="nl-NL" sz="1500" dirty="0"/>
              <a:t>Tip 5: Geef bij de vraag over </a:t>
            </a:r>
            <a:r>
              <a:rPr lang="nl-NL" sz="1500" b="1" dirty="0"/>
              <a:t>vergunningen</a:t>
            </a:r>
            <a:r>
              <a:rPr lang="nl-NL" sz="1500" dirty="0"/>
              <a:t> aan (indien er sprake is van vergunningplicht) wat de status van de vergunningaanvraag is.</a:t>
            </a:r>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6: Er worden verschillende vragen gesteld omtrent de </a:t>
            </a:r>
            <a:r>
              <a:rPr lang="nl-NL" sz="1500" b="1" dirty="0"/>
              <a:t>doelstelling</a:t>
            </a:r>
            <a:r>
              <a:rPr lang="nl-NL" sz="1500" dirty="0"/>
              <a:t> van het project, o.a. over de bijdrage aan de GLB-doelen en het bereik van het project. Overleg met de LEADER-coördinator aan welke doelen je eventueel denkt bij te dragen. N.B. het is niet verplicht om aan deze doelen bij te dragen, dus je kunt ook ‘nul’ of ‘geen’ invullen. Dit heeft geen invloed op de toekenning van de subsidie.</a:t>
            </a:r>
          </a:p>
          <a:p>
            <a:pPr marL="285750" indent="-285750">
              <a:buFont typeface="Arial" panose="020B0604020202020204" pitchFamily="34" charset="0"/>
              <a:buChar char="•"/>
            </a:pPr>
            <a:endParaRPr lang="nl-NL" sz="1500" dirty="0"/>
          </a:p>
          <a:p>
            <a:pPr marL="285750" indent="-285750">
              <a:buFont typeface="Arial" panose="020B0604020202020204" pitchFamily="34" charset="0"/>
              <a:buChar char="•"/>
            </a:pPr>
            <a:r>
              <a:rPr lang="nl-NL" sz="1500" dirty="0"/>
              <a:t>Tip 7: De laatste vraag op de pagina gaat over of je aanvraagt namens een </a:t>
            </a:r>
            <a:r>
              <a:rPr lang="nl-NL" sz="1500" b="1" dirty="0"/>
              <a:t>samenwerkingsverband</a:t>
            </a:r>
            <a:r>
              <a:rPr lang="nl-NL" sz="1500" dirty="0"/>
              <a:t>. Is dit het geval? Dan heeft elke samenwerkingspartner een relatienummer nodig (1x inloggen bij mijn.rvo.nl en dan naar ‘’mijn gegevens’’, daar is het relatienummer te vinden). Én vergeet niet het format samenwerkingsovereenkomst in te vullen en door alle partijen te laten ondertekenen.</a:t>
            </a:r>
          </a:p>
          <a:p>
            <a:endParaRPr lang="nl-NL" sz="1500" i="1" dirty="0"/>
          </a:p>
        </p:txBody>
      </p:sp>
      <p:sp>
        <p:nvSpPr>
          <p:cNvPr id="3" name="Titel 2">
            <a:extLst>
              <a:ext uri="{FF2B5EF4-FFF2-40B4-BE49-F238E27FC236}">
                <a16:creationId xmlns:a16="http://schemas.microsoft.com/office/drawing/2014/main" id="{B8426E75-279F-7126-5E5C-7651806F93FE}"/>
              </a:ext>
            </a:extLst>
          </p:cNvPr>
          <p:cNvSpPr>
            <a:spLocks noGrp="1"/>
          </p:cNvSpPr>
          <p:nvPr>
            <p:ph type="title"/>
          </p:nvPr>
        </p:nvSpPr>
        <p:spPr>
          <a:xfrm>
            <a:off x="680401" y="246976"/>
            <a:ext cx="10830562" cy="915496"/>
          </a:xfrm>
        </p:spPr>
        <p:txBody>
          <a:bodyPr/>
          <a:lstStyle/>
          <a:p>
            <a:r>
              <a:rPr lang="nl-NL" dirty="0"/>
              <a:t>Aanvraagformulier</a:t>
            </a:r>
            <a:br>
              <a:rPr lang="nl-NL" dirty="0"/>
            </a:br>
            <a:r>
              <a:rPr lang="nl-NL" dirty="0"/>
              <a:t>projectinformatie</a:t>
            </a:r>
          </a:p>
        </p:txBody>
      </p:sp>
      <p:sp>
        <p:nvSpPr>
          <p:cNvPr id="4" name="Tijdelijke aanduiding voor dianummer 3">
            <a:extLst>
              <a:ext uri="{FF2B5EF4-FFF2-40B4-BE49-F238E27FC236}">
                <a16:creationId xmlns:a16="http://schemas.microsoft.com/office/drawing/2014/main" id="{ACE3D45D-390F-E53C-B083-C86EA12E8097}"/>
              </a:ext>
            </a:extLst>
          </p:cNvPr>
          <p:cNvSpPr>
            <a:spLocks noGrp="1"/>
          </p:cNvSpPr>
          <p:nvPr>
            <p:ph type="sldNum" sz="quarter" idx="12"/>
          </p:nvPr>
        </p:nvSpPr>
        <p:spPr/>
        <p:txBody>
          <a:bodyPr/>
          <a:lstStyle/>
          <a:p>
            <a:fld id="{10A0A6AF-03C5-477E-939A-E28F7E7F05EA}" type="slidenum">
              <a:rPr lang="nl-NL" smtClean="0"/>
              <a:pPr/>
              <a:t>7</a:t>
            </a:fld>
            <a:endParaRPr lang="nl-NL" dirty="0"/>
          </a:p>
        </p:txBody>
      </p:sp>
      <p:sp>
        <p:nvSpPr>
          <p:cNvPr id="11" name="Tekstvak 10">
            <a:extLst>
              <a:ext uri="{FF2B5EF4-FFF2-40B4-BE49-F238E27FC236}">
                <a16:creationId xmlns:a16="http://schemas.microsoft.com/office/drawing/2014/main" id="{2702D853-2442-E7DF-0C9C-E6079FCDFF0C}"/>
              </a:ext>
            </a:extLst>
          </p:cNvPr>
          <p:cNvSpPr txBox="1"/>
          <p:nvPr/>
        </p:nvSpPr>
        <p:spPr>
          <a:xfrm>
            <a:off x="2084691" y="4779823"/>
            <a:ext cx="6287784" cy="954107"/>
          </a:xfrm>
          <a:prstGeom prst="rect">
            <a:avLst/>
          </a:prstGeom>
          <a:noFill/>
          <a:ln>
            <a:solidFill>
              <a:schemeClr val="tx2"/>
            </a:solidFill>
          </a:ln>
        </p:spPr>
        <p:txBody>
          <a:bodyPr wrap="square" rtlCol="0">
            <a:spAutoFit/>
          </a:bodyPr>
          <a:lstStyle/>
          <a:p>
            <a:r>
              <a:rPr lang="nl-NL" sz="1400" i="1" dirty="0">
                <a:solidFill>
                  <a:schemeClr val="tx2"/>
                </a:solidFill>
              </a:rPr>
              <a:t>Een samenwerkingsverband is een samenwerking van partijen om gezamenlijk de projectactiviteiten uit te voeren. Het inhuren van een partij of het </a:t>
            </a:r>
            <a:r>
              <a:rPr lang="nl-NL" sz="1400" i="1" dirty="0">
                <a:solidFill>
                  <a:schemeClr val="accent6"/>
                </a:solidFill>
              </a:rPr>
              <a:t>uitbesteden van werk aan </a:t>
            </a:r>
            <a:r>
              <a:rPr lang="nl-NL" sz="1400" i="1" dirty="0">
                <a:solidFill>
                  <a:schemeClr val="tx2"/>
                </a:solidFill>
              </a:rPr>
              <a:t>een derde (aannemers bijvoorbeeld) geldt niet als samenwerkingsverband.</a:t>
            </a:r>
          </a:p>
        </p:txBody>
      </p:sp>
      <p:pic>
        <p:nvPicPr>
          <p:cNvPr id="5" name="Afbeelding 4" descr="Afbeelding met Graphics, Lettertype, grafische vormgeving, tekst&#10;&#10;Automatisch gegenereerde beschrijving">
            <a:extLst>
              <a:ext uri="{FF2B5EF4-FFF2-40B4-BE49-F238E27FC236}">
                <a16:creationId xmlns:a16="http://schemas.microsoft.com/office/drawing/2014/main" id="{C74004A3-4D75-757D-9CC5-08AF58996E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7" name="Afbeelding 6" descr="Afbeelding met tekst, Lettertype, Elektrisch blauw, schermopname&#10;&#10;Automatisch gegenereerde beschrijving">
            <a:extLst>
              <a:ext uri="{FF2B5EF4-FFF2-40B4-BE49-F238E27FC236}">
                <a16:creationId xmlns:a16="http://schemas.microsoft.com/office/drawing/2014/main" id="{A32C8394-271D-06A4-5656-906FE11F684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396094537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D8F497E7-AD61-6350-9A94-F2D73009F93D}"/>
              </a:ext>
            </a:extLst>
          </p:cNvPr>
          <p:cNvPicPr>
            <a:picLocks noChangeAspect="1"/>
          </p:cNvPicPr>
          <p:nvPr/>
        </p:nvPicPr>
        <p:blipFill>
          <a:blip r:embed="rId2"/>
          <a:stretch>
            <a:fillRect/>
          </a:stretch>
        </p:blipFill>
        <p:spPr>
          <a:xfrm>
            <a:off x="8025302" y="2320217"/>
            <a:ext cx="4517196" cy="926224"/>
          </a:xfrm>
          <a:prstGeom prst="rect">
            <a:avLst/>
          </a:prstGeom>
        </p:spPr>
      </p:pic>
      <p:pic>
        <p:nvPicPr>
          <p:cNvPr id="6" name="Afbeelding 5">
            <a:extLst>
              <a:ext uri="{FF2B5EF4-FFF2-40B4-BE49-F238E27FC236}">
                <a16:creationId xmlns:a16="http://schemas.microsoft.com/office/drawing/2014/main" id="{A1F73DC9-863D-AB5E-1D6C-58D8107B792F}"/>
              </a:ext>
            </a:extLst>
          </p:cNvPr>
          <p:cNvPicPr>
            <a:picLocks noChangeAspect="1"/>
          </p:cNvPicPr>
          <p:nvPr/>
        </p:nvPicPr>
        <p:blipFill>
          <a:blip r:embed="rId3"/>
          <a:stretch>
            <a:fillRect/>
          </a:stretch>
        </p:blipFill>
        <p:spPr>
          <a:xfrm>
            <a:off x="5888001" y="0"/>
            <a:ext cx="6303999" cy="1848831"/>
          </a:xfrm>
          <a:prstGeom prst="rect">
            <a:avLst/>
          </a:prstGeom>
        </p:spPr>
      </p:pic>
      <p:sp>
        <p:nvSpPr>
          <p:cNvPr id="2" name="Tijdelijke aanduiding voor inhoud 1">
            <a:extLst>
              <a:ext uri="{FF2B5EF4-FFF2-40B4-BE49-F238E27FC236}">
                <a16:creationId xmlns:a16="http://schemas.microsoft.com/office/drawing/2014/main" id="{3FE3FB58-3B48-97CA-B9FE-E8612F02B0B0}"/>
              </a:ext>
            </a:extLst>
          </p:cNvPr>
          <p:cNvSpPr>
            <a:spLocks noGrp="1"/>
          </p:cNvSpPr>
          <p:nvPr>
            <p:ph idx="1"/>
          </p:nvPr>
        </p:nvSpPr>
        <p:spPr>
          <a:xfrm>
            <a:off x="480375" y="1094335"/>
            <a:ext cx="8123237" cy="4537075"/>
          </a:xfrm>
        </p:spPr>
        <p:txBody>
          <a:bodyPr/>
          <a:lstStyle/>
          <a:p>
            <a:pPr marL="285750" indent="-285750">
              <a:buFont typeface="Arial" panose="020B0604020202020204" pitchFamily="34" charset="0"/>
              <a:buChar char="•"/>
            </a:pPr>
            <a:r>
              <a:rPr lang="nl-NL" dirty="0"/>
              <a:t>In dit scherm worden de projectkosten uitgevraagd.</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1: De methode voor het berekenen van de subsidiabele kosten kan overgenomen worden uit het ingevulde format begroting. Nog niet kunnen kiezen? Raadpleeg dan de LEADER-coördinator</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2: Na het kiezen van de methode, kan je niet meer terug klikken naar vorige pagina’s in het aanvraagformulier. Let hier op!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3: Kies bij subsidiabele activiteit het juiste soort project, vaak is dit ‘overige projecten’ (‘LAG samenwerkingsproject’ is in ieder geval niet aan de orde).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4: Vervolgens moeten de projectkosten worden ingevuld. Deze zijn 1 op 1 over te nemen uit het ingevulde format begroting (tabblad 6).</a:t>
            </a:r>
          </a:p>
        </p:txBody>
      </p:sp>
      <p:sp>
        <p:nvSpPr>
          <p:cNvPr id="3" name="Titel 2">
            <a:extLst>
              <a:ext uri="{FF2B5EF4-FFF2-40B4-BE49-F238E27FC236}">
                <a16:creationId xmlns:a16="http://schemas.microsoft.com/office/drawing/2014/main" id="{689CC253-5BD8-311D-B9A7-5092063F2117}"/>
              </a:ext>
            </a:extLst>
          </p:cNvPr>
          <p:cNvSpPr>
            <a:spLocks noGrp="1"/>
          </p:cNvSpPr>
          <p:nvPr>
            <p:ph type="title"/>
          </p:nvPr>
        </p:nvSpPr>
        <p:spPr>
          <a:xfrm>
            <a:off x="585788" y="178839"/>
            <a:ext cx="10830562" cy="915496"/>
          </a:xfrm>
        </p:spPr>
        <p:txBody>
          <a:bodyPr/>
          <a:lstStyle/>
          <a:p>
            <a:r>
              <a:rPr lang="nl-NL" dirty="0"/>
              <a:t>Aanvraagformulier</a:t>
            </a:r>
            <a:br>
              <a:rPr lang="nl-NL" dirty="0"/>
            </a:br>
            <a:r>
              <a:rPr lang="nl-NL" dirty="0"/>
              <a:t>Projectkosten</a:t>
            </a:r>
          </a:p>
        </p:txBody>
      </p:sp>
      <p:sp>
        <p:nvSpPr>
          <p:cNvPr id="4" name="Tijdelijke aanduiding voor dianummer 3">
            <a:extLst>
              <a:ext uri="{FF2B5EF4-FFF2-40B4-BE49-F238E27FC236}">
                <a16:creationId xmlns:a16="http://schemas.microsoft.com/office/drawing/2014/main" id="{48AD1AE1-64CD-17E9-403E-6D86603CDE16}"/>
              </a:ext>
            </a:extLst>
          </p:cNvPr>
          <p:cNvSpPr>
            <a:spLocks noGrp="1"/>
          </p:cNvSpPr>
          <p:nvPr>
            <p:ph type="sldNum" sz="quarter" idx="12"/>
          </p:nvPr>
        </p:nvSpPr>
        <p:spPr/>
        <p:txBody>
          <a:bodyPr/>
          <a:lstStyle/>
          <a:p>
            <a:fld id="{10A0A6AF-03C5-477E-939A-E28F7E7F05EA}" type="slidenum">
              <a:rPr lang="nl-NL" smtClean="0"/>
              <a:pPr/>
              <a:t>8</a:t>
            </a:fld>
            <a:endParaRPr lang="nl-NL" dirty="0"/>
          </a:p>
        </p:txBody>
      </p:sp>
      <p:pic>
        <p:nvPicPr>
          <p:cNvPr id="8" name="Afbeelding 7">
            <a:extLst>
              <a:ext uri="{FF2B5EF4-FFF2-40B4-BE49-F238E27FC236}">
                <a16:creationId xmlns:a16="http://schemas.microsoft.com/office/drawing/2014/main" id="{0EAC0871-1036-D14B-8B0B-0BDF9CB0D076}"/>
              </a:ext>
            </a:extLst>
          </p:cNvPr>
          <p:cNvPicPr>
            <a:picLocks noChangeAspect="1"/>
          </p:cNvPicPr>
          <p:nvPr/>
        </p:nvPicPr>
        <p:blipFill>
          <a:blip r:embed="rId4"/>
          <a:stretch>
            <a:fillRect/>
          </a:stretch>
        </p:blipFill>
        <p:spPr>
          <a:xfrm>
            <a:off x="3400811" y="5230187"/>
            <a:ext cx="4188497" cy="1426517"/>
          </a:xfrm>
          <a:prstGeom prst="rect">
            <a:avLst/>
          </a:prstGeom>
        </p:spPr>
      </p:pic>
      <p:sp>
        <p:nvSpPr>
          <p:cNvPr id="9" name="Pijl: rechts 8">
            <a:extLst>
              <a:ext uri="{FF2B5EF4-FFF2-40B4-BE49-F238E27FC236}">
                <a16:creationId xmlns:a16="http://schemas.microsoft.com/office/drawing/2014/main" id="{70692AE1-2191-F69B-D96C-243CB9908B7A}"/>
              </a:ext>
            </a:extLst>
          </p:cNvPr>
          <p:cNvSpPr/>
          <p:nvPr/>
        </p:nvSpPr>
        <p:spPr>
          <a:xfrm>
            <a:off x="7790182" y="5512726"/>
            <a:ext cx="470240" cy="34932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a:extLst>
              <a:ext uri="{FF2B5EF4-FFF2-40B4-BE49-F238E27FC236}">
                <a16:creationId xmlns:a16="http://schemas.microsoft.com/office/drawing/2014/main" id="{E4B1E017-3849-1D29-35B2-E968833BC808}"/>
              </a:ext>
            </a:extLst>
          </p:cNvPr>
          <p:cNvPicPr>
            <a:picLocks noChangeAspect="1"/>
          </p:cNvPicPr>
          <p:nvPr/>
        </p:nvPicPr>
        <p:blipFill>
          <a:blip r:embed="rId5"/>
          <a:stretch>
            <a:fillRect/>
          </a:stretch>
        </p:blipFill>
        <p:spPr>
          <a:xfrm>
            <a:off x="8603612" y="4137732"/>
            <a:ext cx="3301376" cy="2184910"/>
          </a:xfrm>
          <a:prstGeom prst="rect">
            <a:avLst/>
          </a:prstGeom>
        </p:spPr>
      </p:pic>
      <p:pic>
        <p:nvPicPr>
          <p:cNvPr id="13" name="Afbeelding 12" descr="Afbeelding met tekst, Lettertype, Elektrisch blauw, schermopname&#10;&#10;Automatisch gegenereerde beschrijving">
            <a:extLst>
              <a:ext uri="{FF2B5EF4-FFF2-40B4-BE49-F238E27FC236}">
                <a16:creationId xmlns:a16="http://schemas.microsoft.com/office/drawing/2014/main" id="{8F4418BB-BC28-CE33-649C-6AAAEC700C9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353270595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27AE77D7-7D84-210A-8BE8-54EE0B1047B5}"/>
              </a:ext>
            </a:extLst>
          </p:cNvPr>
          <p:cNvSpPr>
            <a:spLocks noGrp="1"/>
          </p:cNvSpPr>
          <p:nvPr>
            <p:ph idx="1"/>
          </p:nvPr>
        </p:nvSpPr>
        <p:spPr/>
        <p:txBody>
          <a:bodyPr/>
          <a:lstStyle/>
          <a:p>
            <a:pPr marL="285750" indent="-285750">
              <a:buFont typeface="Arial" panose="020B0604020202020204" pitchFamily="34" charset="0"/>
              <a:buChar char="•"/>
            </a:pPr>
            <a:r>
              <a:rPr lang="nl-NL" dirty="0"/>
              <a:t>Vervolgens worden de totale projectkosten benoemd tezamen met het totale subsidiebedrag in het scherm ‘’Begroting’’.</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1: Wil je een lager subsidiebedrag aanvragen dan benoemd staat onder ‘’projectfinanciering’’? Verhoog dan het bedrag onder ‘’Uw bijdrage’’ (zie plaatje rechts).</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2: Er wordt ook gevraagd naar andere subsidies. Hiermee worden enkel </a:t>
            </a:r>
            <a:r>
              <a:rPr lang="nl-NL" u="sng"/>
              <a:t>overheids</a:t>
            </a:r>
            <a:r>
              <a:rPr lang="nl-NL"/>
              <a:t>subsidies bedoeld!</a:t>
            </a: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Tip 3: Als laatst worden deelprestaties opgevraagd. Deze zijn over te nemen uit het format begroting (tabblad 3). Noem bij een deelprestaties altijd de </a:t>
            </a:r>
            <a:r>
              <a:rPr lang="nl-NL" u="sng" dirty="0"/>
              <a:t>subsidie</a:t>
            </a:r>
            <a:r>
              <a:rPr lang="nl-NL" dirty="0"/>
              <a:t> (kolom F of G tabblad 3) die eraan gekoppeld is, </a:t>
            </a:r>
            <a:r>
              <a:rPr lang="nl-NL" u="sng" dirty="0"/>
              <a:t>niét de kosten</a:t>
            </a:r>
            <a:r>
              <a:rPr lang="nl-NL" dirty="0"/>
              <a:t>!</a:t>
            </a:r>
          </a:p>
        </p:txBody>
      </p:sp>
      <p:sp>
        <p:nvSpPr>
          <p:cNvPr id="3" name="Titel 2">
            <a:extLst>
              <a:ext uri="{FF2B5EF4-FFF2-40B4-BE49-F238E27FC236}">
                <a16:creationId xmlns:a16="http://schemas.microsoft.com/office/drawing/2014/main" id="{98CBD0D6-C862-4ED4-3896-EDD81E2F2115}"/>
              </a:ext>
            </a:extLst>
          </p:cNvPr>
          <p:cNvSpPr>
            <a:spLocks noGrp="1"/>
          </p:cNvSpPr>
          <p:nvPr>
            <p:ph type="title"/>
          </p:nvPr>
        </p:nvSpPr>
        <p:spPr>
          <a:xfrm>
            <a:off x="557213" y="502615"/>
            <a:ext cx="10830562" cy="915496"/>
          </a:xfrm>
        </p:spPr>
        <p:txBody>
          <a:bodyPr/>
          <a:lstStyle/>
          <a:p>
            <a:r>
              <a:rPr lang="nl-NL" dirty="0"/>
              <a:t>Aanvraagformulier</a:t>
            </a:r>
            <a:br>
              <a:rPr lang="nl-NL" dirty="0"/>
            </a:br>
            <a:r>
              <a:rPr lang="nl-NL" dirty="0"/>
              <a:t>Begroting</a:t>
            </a:r>
          </a:p>
        </p:txBody>
      </p:sp>
      <p:sp>
        <p:nvSpPr>
          <p:cNvPr id="4" name="Tijdelijke aanduiding voor dianummer 3">
            <a:extLst>
              <a:ext uri="{FF2B5EF4-FFF2-40B4-BE49-F238E27FC236}">
                <a16:creationId xmlns:a16="http://schemas.microsoft.com/office/drawing/2014/main" id="{709AA94D-03D8-2BA1-A857-64E1297C86DA}"/>
              </a:ext>
            </a:extLst>
          </p:cNvPr>
          <p:cNvSpPr>
            <a:spLocks noGrp="1"/>
          </p:cNvSpPr>
          <p:nvPr>
            <p:ph type="sldNum" sz="quarter" idx="12"/>
          </p:nvPr>
        </p:nvSpPr>
        <p:spPr/>
        <p:txBody>
          <a:bodyPr/>
          <a:lstStyle/>
          <a:p>
            <a:fld id="{10A0A6AF-03C5-477E-939A-E28F7E7F05EA}" type="slidenum">
              <a:rPr lang="nl-NL" smtClean="0"/>
              <a:pPr/>
              <a:t>9</a:t>
            </a:fld>
            <a:endParaRPr lang="nl-NL" dirty="0"/>
          </a:p>
        </p:txBody>
      </p:sp>
      <p:pic>
        <p:nvPicPr>
          <p:cNvPr id="6" name="Afbeelding 5">
            <a:extLst>
              <a:ext uri="{FF2B5EF4-FFF2-40B4-BE49-F238E27FC236}">
                <a16:creationId xmlns:a16="http://schemas.microsoft.com/office/drawing/2014/main" id="{7737EDAC-0A4A-47BE-9BA2-594133CD4D4A}"/>
              </a:ext>
            </a:extLst>
          </p:cNvPr>
          <p:cNvPicPr>
            <a:picLocks noChangeAspect="1"/>
          </p:cNvPicPr>
          <p:nvPr/>
        </p:nvPicPr>
        <p:blipFill rotWithShape="1">
          <a:blip r:embed="rId2"/>
          <a:srcRect r="26286"/>
          <a:stretch/>
        </p:blipFill>
        <p:spPr>
          <a:xfrm>
            <a:off x="8120866" y="3065613"/>
            <a:ext cx="3975884" cy="1260008"/>
          </a:xfrm>
          <a:prstGeom prst="rect">
            <a:avLst/>
          </a:prstGeom>
        </p:spPr>
      </p:pic>
      <p:pic>
        <p:nvPicPr>
          <p:cNvPr id="5" name="Afbeelding 4" descr="Afbeelding met Graphics, Lettertype, grafische vormgeving, tekst&#10;&#10;Automatisch gegenereerde beschrijving">
            <a:extLst>
              <a:ext uri="{FF2B5EF4-FFF2-40B4-BE49-F238E27FC236}">
                <a16:creationId xmlns:a16="http://schemas.microsoft.com/office/drawing/2014/main" id="{ECBACF67-38FB-8329-9F03-592B1C13F3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11463" y="266685"/>
            <a:ext cx="815229" cy="815229"/>
          </a:xfrm>
          <a:prstGeom prst="rect">
            <a:avLst/>
          </a:prstGeom>
        </p:spPr>
      </p:pic>
      <p:pic>
        <p:nvPicPr>
          <p:cNvPr id="7" name="Afbeelding 6" descr="Afbeelding met tekst, Lettertype, Elektrisch blauw, schermopname&#10;&#10;Automatisch gegenereerde beschrijving">
            <a:extLst>
              <a:ext uri="{FF2B5EF4-FFF2-40B4-BE49-F238E27FC236}">
                <a16:creationId xmlns:a16="http://schemas.microsoft.com/office/drawing/2014/main" id="{C99FFF19-4ED5-8E95-63FC-B1172DCFFD4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072" y="5986533"/>
            <a:ext cx="3296416" cy="589781"/>
          </a:xfrm>
          <a:prstGeom prst="rect">
            <a:avLst/>
          </a:prstGeom>
        </p:spPr>
      </p:pic>
    </p:spTree>
    <p:extLst>
      <p:ext uri="{BB962C8B-B14F-4D97-AF65-F5344CB8AC3E}">
        <p14:creationId xmlns:p14="http://schemas.microsoft.com/office/powerpoint/2010/main" val="39834864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a5">
  <a:themeElements>
    <a:clrScheme name="RVO">
      <a:dk1>
        <a:srgbClr val="000000"/>
      </a:dk1>
      <a:lt1>
        <a:srgbClr val="FFFFFF"/>
      </a:lt1>
      <a:dk2>
        <a:srgbClr val="44546A"/>
      </a:dk2>
      <a:lt2>
        <a:srgbClr val="E7E6E6"/>
      </a:lt2>
      <a:accent1>
        <a:srgbClr val="38860B"/>
      </a:accent1>
      <a:accent2>
        <a:srgbClr val="767B00"/>
      </a:accent2>
      <a:accent3>
        <a:srgbClr val="017AC6"/>
      </a:accent3>
      <a:accent4>
        <a:srgbClr val="74D3B5"/>
      </a:accent4>
      <a:accent5>
        <a:srgbClr val="FEB511"/>
      </a:accent5>
      <a:accent6>
        <a:srgbClr val="4472C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a5" id="{8FB3C642-1514-B94A-AC7B-89412F23A895}" vid="{C09BBD4B-0B9A-9E4D-9D1F-371CFD41A5E1}"/>
    </a:ext>
  </a:extLst>
</a:theme>
</file>

<file path=ppt/theme/theme2.xml><?xml version="1.0" encoding="utf-8"?>
<a:theme xmlns:a="http://schemas.openxmlformats.org/drawingml/2006/main" name="Content slides">
  <a:themeElements>
    <a:clrScheme name="GLB">
      <a:dk1>
        <a:srgbClr val="000000"/>
      </a:dk1>
      <a:lt1>
        <a:srgbClr val="FFFFFF"/>
      </a:lt1>
      <a:dk2>
        <a:srgbClr val="017AC8"/>
      </a:dk2>
      <a:lt2>
        <a:srgbClr val="FFFFFF"/>
      </a:lt2>
      <a:accent1>
        <a:srgbClr val="39870C"/>
      </a:accent1>
      <a:accent2>
        <a:srgbClr val="8FCAE7"/>
      </a:accent2>
      <a:accent3>
        <a:srgbClr val="76D2B6"/>
      </a:accent3>
      <a:accent4>
        <a:srgbClr val="FFB612"/>
      </a:accent4>
      <a:accent5>
        <a:srgbClr val="777C00"/>
      </a:accent5>
      <a:accent6>
        <a:srgbClr val="017BC7"/>
      </a:accent6>
      <a:hlink>
        <a:srgbClr val="46B6FE"/>
      </a:hlink>
      <a:folHlink>
        <a:srgbClr val="8FC9E7"/>
      </a:folHlink>
    </a:clrScheme>
    <a:fontScheme name="Verdana">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VO GLB ppt template" id="{1EFB2283-EA54-40EA-AB4C-C49A2A9DB37B}" vid="{2FCCC7FD-D7D2-4AA6-B96B-BC19D84EA134}"/>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itenaam xmlns="504b00f9-d629-4b11-9f41-a9816b92c626">https://deventer.sharepoint.com/sites/dowr-werkomg-krachtsalland</Sitenaam>
    <ge0bf3e4aade45a29e5e49763c92758f xmlns="504b00f9-d629-4b11-9f41-a9816b92c626">
      <Terms xmlns="http://schemas.microsoft.com/office/infopath/2007/PartnerControls">
        <TermInfo xmlns="http://schemas.microsoft.com/office/infopath/2007/PartnerControls">
          <TermName xmlns="http://schemas.microsoft.com/office/infopath/2007/PartnerControls">Openbaar</TermName>
          <TermId xmlns="http://schemas.microsoft.com/office/infopath/2007/PartnerControls">e8ed49a1-8f43-4605-afd3-8d856efb75d5</TermId>
        </TermInfo>
      </Terms>
    </ge0bf3e4aade45a29e5e49763c92758f>
    <l72b65e41614461b9b237d2ca8dc3bfa xmlns="504b00f9-d629-4b11-9f41-a9816b92c626">
      <Terms xmlns="http://schemas.microsoft.com/office/infopath/2007/PartnerControls">
        <TermInfo xmlns="http://schemas.microsoft.com/office/infopath/2007/PartnerControls">
          <TermName xmlns="http://schemas.microsoft.com/office/infopath/2007/PartnerControls">NL-WeGOW</TermName>
          <TermId xmlns="http://schemas.microsoft.com/office/infopath/2007/PartnerControls">23638754-1e36-494c-99eb-f24fbb967dd7</TermId>
        </TermInfo>
      </Terms>
    </l72b65e41614461b9b237d2ca8dc3bfa>
    <pd50c43e94894024a73443235b9c5599 xmlns="504b00f9-d629-4b11-9f41-a9816b92c626">
      <Terms xmlns="http://schemas.microsoft.com/office/infopath/2007/PartnerControls"/>
    </pd50c43e94894024a73443235b9c5599>
    <Ontstaanscontext xmlns="504b00f9-d629-4b11-9f41-a9816b92c626">Geke Kosse</Ontstaanscontext>
    <e8b9f9cac66945448abed9f71f009dbb xmlns="504b00f9-d629-4b11-9f41-a9816b92c626">
      <Terms xmlns="http://schemas.microsoft.com/office/infopath/2007/PartnerControls">
        <TermInfo xmlns="http://schemas.microsoft.com/office/infopath/2007/PartnerControls">
          <TermName xmlns="http://schemas.microsoft.com/office/infopath/2007/PartnerControls">5.0 - Sport, cultuur en recreatie</TermName>
          <TermId xmlns="http://schemas.microsoft.com/office/infopath/2007/PartnerControls">14644140-4266-4250-9ee7-ad244f11d9a1</TermId>
        </TermInfo>
      </Terms>
    </e8b9f9cac66945448abed9f71f009dbb>
    <h094006d2ad9401f9b7d73498d7056c6 xmlns="504b00f9-d629-4b11-9f41-a9816b92c626">
      <Terms xmlns="http://schemas.microsoft.com/office/infopath/2007/PartnerControls"/>
    </h094006d2ad9401f9b7d73498d7056c6>
    <jf3007396e7347cea609257d9eaa4ca6 xmlns="504b00f9-d629-4b11-9f41-a9816b92c626">
      <Terms xmlns="http://schemas.microsoft.com/office/infopath/2007/PartnerControls"/>
    </jf3007396e7347cea609257d9eaa4ca6>
    <c9555a5d75ea45459c485b5bc5619d47 xmlns="504b00f9-d629-4b11-9f41-a9816b92c626">
      <Terms xmlns="http://schemas.microsoft.com/office/infopath/2007/PartnerControls">
        <TermInfo xmlns="http://schemas.microsoft.com/office/infopath/2007/PartnerControls">
          <TermName xmlns="http://schemas.microsoft.com/office/infopath/2007/PartnerControls">OW-LO</TermName>
          <TermId xmlns="http://schemas.microsoft.com/office/infopath/2007/PartnerControls">6465ed23-ec05-43e8-98ea-a278b12fe2b6</TermId>
        </TermInfo>
      </Terms>
    </c9555a5d75ea45459c485b5bc5619d47>
    <lcf76f155ced4ddcb4097134ff3c332f xmlns="7fd6d9cb-daa6-414c-bd08-34a3bfd82cce">
      <Terms xmlns="http://schemas.microsoft.com/office/infopath/2007/PartnerControls"/>
    </lcf76f155ced4ddcb4097134ff3c332f>
    <TaxCatchAll xmlns="504b00f9-d629-4b11-9f41-a9816b92c626">
      <Value>6</Value>
      <Value>5</Value>
      <Value>4</Value>
      <Value>7</Value>
    </TaxCatchAl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Werkdocument" ma:contentTypeID="0x010100B48715108274634F9C0A9681FDEF4F8500F296AD7A57E71C4BBB1EAEA0A535AB16" ma:contentTypeVersion="44" ma:contentTypeDescription="" ma:contentTypeScope="" ma:versionID="eeb4b14c3894e40bf1f30ac2ed306978">
  <xsd:schema xmlns:xsd="http://www.w3.org/2001/XMLSchema" xmlns:xs="http://www.w3.org/2001/XMLSchema" xmlns:p="http://schemas.microsoft.com/office/2006/metadata/properties" xmlns:ns2="504b00f9-d629-4b11-9f41-a9816b92c626" xmlns:ns3="7fd6d9cb-daa6-414c-bd08-34a3bfd82cce" targetNamespace="http://schemas.microsoft.com/office/2006/metadata/properties" ma:root="true" ma:fieldsID="66ffc232bd4bef7470d4e102b56d549e" ns2:_="" ns3:_="">
    <xsd:import namespace="504b00f9-d629-4b11-9f41-a9816b92c626"/>
    <xsd:import namespace="7fd6d9cb-daa6-414c-bd08-34a3bfd82cce"/>
    <xsd:element name="properties">
      <xsd:complexType>
        <xsd:sequence>
          <xsd:element name="documentManagement">
            <xsd:complexType>
              <xsd:all>
                <xsd:element ref="ns2:Ontstaanscontext" minOccurs="0"/>
                <xsd:element ref="ns2:Sitenaam" minOccurs="0"/>
                <xsd:element ref="ns2:jf3007396e7347cea609257d9eaa4ca6" minOccurs="0"/>
                <xsd:element ref="ns2:h094006d2ad9401f9b7d73498d7056c6" minOccurs="0"/>
                <xsd:element ref="ns2:pd50c43e94894024a73443235b9c5599" minOccurs="0"/>
                <xsd:element ref="ns2:l72b65e41614461b9b237d2ca8dc3bfa" minOccurs="0"/>
                <xsd:element ref="ns2:c9555a5d75ea45459c485b5bc5619d47" minOccurs="0"/>
                <xsd:element ref="ns2:ge0bf3e4aade45a29e5e49763c92758f" minOccurs="0"/>
                <xsd:element ref="ns2:TaxCatchAll" minOccurs="0"/>
                <xsd:element ref="ns2:e8b9f9cac66945448abed9f71f009dbb" minOccurs="0"/>
                <xsd:element ref="ns2:TaxCatchAllLabel"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2:SharedWithUsers" minOccurs="0"/>
                <xsd:element ref="ns2:SharedWithDetails" minOccurs="0"/>
                <xsd:element ref="ns3:MediaServiceLocation" minOccurs="0"/>
                <xsd:element ref="ns3:MediaLengthInSeconds"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4b00f9-d629-4b11-9f41-a9816b92c626" elementFormDefault="qualified">
    <xsd:import namespace="http://schemas.microsoft.com/office/2006/documentManagement/types"/>
    <xsd:import namespace="http://schemas.microsoft.com/office/infopath/2007/PartnerControls"/>
    <xsd:element name="Ontstaanscontext" ma:index="7" nillable="true" ma:displayName="Ontstaanscontext" ma:default="Geke Kosse" ma:description="Voor een projectsite de naam van de projectleider, voor teamsite een teamleider, programma-site een programmaleider, werkomgeving de naam van de eigenaar." ma:hidden="true" ma:internalName="Ontstaanscontext" ma:readOnly="false">
      <xsd:simpleType>
        <xsd:restriction base="dms:Text">
          <xsd:maxLength value="255"/>
        </xsd:restriction>
      </xsd:simpleType>
    </xsd:element>
    <xsd:element name="Sitenaam" ma:index="10" nillable="true" ma:displayName="SiteURL" ma:default="https://deventer.sharepoint.com/sites/dowr-werkomg-krachtsalland" ma:description="Geef hier de naam aan van site zoals die in de URL is opgenomen." ma:hidden="true" ma:internalName="Sitenaam" ma:readOnly="false">
      <xsd:simpleType>
        <xsd:restriction base="dms:Text">
          <xsd:maxLength value="255"/>
        </xsd:restriction>
      </xsd:simpleType>
    </xsd:element>
    <xsd:element name="jf3007396e7347cea609257d9eaa4ca6" ma:index="11" nillable="true" ma:taxonomy="true" ma:internalName="jf3007396e7347cea609257d9eaa4ca6" ma:taxonomyFieldName="Documentstatus" ma:displayName="Documentstatus" ma:readOnly="false" ma:fieldId="{3f300739-6e73-47ce-a609-257d9eaa4ca6}" ma:sspId="6ff162f9-bf57-4ff8-9921-ebf521560e7a" ma:termSetId="df263a78-4b63-4c83-a7ac-21294fe37c8a" ma:anchorId="00000000-0000-0000-0000-000000000000" ma:open="false" ma:isKeyword="false">
      <xsd:complexType>
        <xsd:sequence>
          <xsd:element ref="pc:Terms" minOccurs="0" maxOccurs="1"/>
        </xsd:sequence>
      </xsd:complexType>
    </xsd:element>
    <xsd:element name="h094006d2ad9401f9b7d73498d7056c6" ma:index="12" nillable="true" ma:taxonomy="true" ma:internalName="h094006d2ad9401f9b7d73498d7056c6" ma:taxonomyFieldName="Documenttaal" ma:displayName="Documenttaal" ma:readOnly="false" ma:default="-1;#Nederlands|519689bf-6b82-4ac4-acfb-f627d324f32a" ma:fieldId="{1094006d-2ad9-401f-9b7d-73498d7056c6}" ma:sspId="6ff162f9-bf57-4ff8-9921-ebf521560e7a" ma:termSetId="37a38ab8-7bb6-40c5-82f3-f62a9099af65" ma:anchorId="00000000-0000-0000-0000-000000000000" ma:open="false" ma:isKeyword="false">
      <xsd:complexType>
        <xsd:sequence>
          <xsd:element ref="pc:Terms" minOccurs="0" maxOccurs="1"/>
        </xsd:sequence>
      </xsd:complexType>
    </xsd:element>
    <xsd:element name="pd50c43e94894024a73443235b9c5599" ma:index="13" nillable="true" ma:taxonomy="true" ma:internalName="pd50c43e94894024a73443235b9c5599" ma:taxonomyFieldName="Documenttype" ma:displayName="Documenttype" ma:readOnly="false" ma:fieldId="{9d50c43e-9489-4024-a734-43235b9c5599}" ma:sspId="6ff162f9-bf57-4ff8-9921-ebf521560e7a" ma:termSetId="9e378132-0a24-4983-9c6e-8d7bbbefb723" ma:anchorId="00000000-0000-0000-0000-000000000000" ma:open="false" ma:isKeyword="false">
      <xsd:complexType>
        <xsd:sequence>
          <xsd:element ref="pc:Terms" minOccurs="0" maxOccurs="1"/>
        </xsd:sequence>
      </xsd:complexType>
    </xsd:element>
    <xsd:element name="l72b65e41614461b9b237d2ca8dc3bfa" ma:index="16" nillable="true" ma:taxonomy="true" ma:internalName="l72b65e41614461b9b237d2ca8dc3bfa" ma:taxonomyFieldName="Identificatiekenmerk" ma:displayName="Identificatiekenmerk" ma:readOnly="false" ma:default="4;#NL-WeGOW|23638754-1e36-494c-99eb-f24fbb967dd7" ma:fieldId="{572b65e4-1614-461b-9b23-7d2ca8dc3bfa}" ma:sspId="6ff162f9-bf57-4ff8-9921-ebf521560e7a" ma:termSetId="22d16020-4180-46cd-aecb-b536b6cd527c" ma:anchorId="00000000-0000-0000-0000-000000000000" ma:open="false" ma:isKeyword="false">
      <xsd:complexType>
        <xsd:sequence>
          <xsd:element ref="pc:Terms" minOccurs="0" maxOccurs="1"/>
        </xsd:sequence>
      </xsd:complexType>
    </xsd:element>
    <xsd:element name="c9555a5d75ea45459c485b5bc5619d47" ma:index="18" nillable="true" ma:taxonomy="true" ma:internalName="c9555a5d75ea45459c485b5bc5619d47" ma:taxonomyFieldName="Organisatie" ma:displayName="Organisatie" ma:readOnly="false" ma:default="6;#OW-LO|6465ed23-ec05-43e8-98ea-a278b12fe2b6" ma:fieldId="{c9555a5d-75ea-4545-9c48-5b5bc5619d47}" ma:sspId="6ff162f9-bf57-4ff8-9921-ebf521560e7a" ma:termSetId="4b9568b4-c90d-4062-992b-bc9aa4a2ee5a" ma:anchorId="00000000-0000-0000-0000-000000000000" ma:open="false" ma:isKeyword="false">
      <xsd:complexType>
        <xsd:sequence>
          <xsd:element ref="pc:Terms" minOccurs="0" maxOccurs="1"/>
        </xsd:sequence>
      </xsd:complexType>
    </xsd:element>
    <xsd:element name="ge0bf3e4aade45a29e5e49763c92758f" ma:index="19" nillable="true" ma:taxonomy="true" ma:internalName="ge0bf3e4aade45a29e5e49763c92758f" ma:taxonomyFieldName="Vertrouwelijkheid" ma:displayName="Vertrouwelijkheidsniveau" ma:readOnly="false" ma:default="7;#Openbaar|e8ed49a1-8f43-4605-afd3-8d856efb75d5" ma:fieldId="{0e0bf3e4-aade-45a2-9e5e-49763c92758f}" ma:sspId="6ff162f9-bf57-4ff8-9921-ebf521560e7a" ma:termSetId="36d4dbb1-8162-4df7-926f-7eb4a1653e08" ma:anchorId="00000000-0000-0000-0000-000000000000" ma:open="false" ma:isKeyword="false">
      <xsd:complexType>
        <xsd:sequence>
          <xsd:element ref="pc:Terms" minOccurs="0" maxOccurs="1"/>
        </xsd:sequence>
      </xsd:complexType>
    </xsd:element>
    <xsd:element name="TaxCatchAll" ma:index="21" nillable="true" ma:displayName="Taxonomy Catch All Column" ma:hidden="true" ma:list="{1ae1c318-e5da-432d-9c6c-815570493b61}" ma:internalName="TaxCatchAll" ma:readOnly="false" ma:showField="CatchAllData" ma:web="504b00f9-d629-4b11-9f41-a9816b92c626">
      <xsd:complexType>
        <xsd:complexContent>
          <xsd:extension base="dms:MultiChoiceLookup">
            <xsd:sequence>
              <xsd:element name="Value" type="dms:Lookup" maxOccurs="unbounded" minOccurs="0" nillable="true"/>
            </xsd:sequence>
          </xsd:extension>
        </xsd:complexContent>
      </xsd:complexType>
    </xsd:element>
    <xsd:element name="e8b9f9cac66945448abed9f71f009dbb" ma:index="22" nillable="true" ma:taxonomy="true" ma:internalName="e8b9f9cac66945448abed9f71f009dbb" ma:taxonomyFieldName="Classificatie" ma:displayName="Classificatie" ma:readOnly="false" ma:default="5;#5.0 - Sport, cultuur en recreatie|14644140-4266-4250-9ee7-ad244f11d9a1" ma:fieldId="{e8b9f9ca-c669-4544-8abe-d9f71f009dbb}" ma:sspId="6ff162f9-bf57-4ff8-9921-ebf521560e7a" ma:termSetId="25037ff8-8bfd-471d-9dee-4d1c3613d069" ma:anchorId="00000000-0000-0000-0000-000000000000" ma:open="false" ma:isKeyword="false">
      <xsd:complexType>
        <xsd:sequence>
          <xsd:element ref="pc:Terms" minOccurs="0" maxOccurs="1"/>
        </xsd:sequence>
      </xsd:complexType>
    </xsd:element>
    <xsd:element name="TaxCatchAllLabel" ma:index="25" nillable="true" ma:displayName="Taxonomy Catch All Column1" ma:hidden="true" ma:list="{1ae1c318-e5da-432d-9c6c-815570493b61}" ma:internalName="TaxCatchAllLabel" ma:readOnly="true" ma:showField="CatchAllDataLabel" ma:web="504b00f9-d629-4b11-9f41-a9816b92c626">
      <xsd:complexType>
        <xsd:complexContent>
          <xsd:extension base="dms:MultiChoiceLookup">
            <xsd:sequence>
              <xsd:element name="Value" type="dms:Lookup" maxOccurs="unbounded" minOccurs="0" nillable="true"/>
            </xsd:sequence>
          </xsd:extension>
        </xsd:complexContent>
      </xsd:complexType>
    </xsd:element>
    <xsd:element name="SharedWithUsers" ma:index="35"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d6d9cb-daa6-414c-bd08-34a3bfd82cce"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internalName="MediaServiceKeyPoints" ma:readOnly="true">
      <xsd:simpleType>
        <xsd:restriction base="dms:Note">
          <xsd:maxLength value="255"/>
        </xsd:restriction>
      </xsd:simpleType>
    </xsd:element>
    <xsd:element name="MediaServiceAutoTags" ma:index="30" nillable="true" ma:displayName="Tags" ma:internalName="MediaServiceAutoTags" ma:readOnly="true">
      <xsd:simpleType>
        <xsd:restriction base="dms:Text"/>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element name="MediaServiceDateTaken" ma:index="33" nillable="true" ma:displayName="MediaServiceDateTaken" ma:hidden="true" ma:internalName="MediaServiceDateTaken" ma:readOnly="true">
      <xsd:simpleType>
        <xsd:restriction base="dms:Text"/>
      </xsd:simpleType>
    </xsd:element>
    <xsd:element name="MediaServiceOCR" ma:index="34" nillable="true" ma:displayName="Extracted Text" ma:internalName="MediaServiceOCR" ma:readOnly="true">
      <xsd:simpleType>
        <xsd:restriction base="dms:Note">
          <xsd:maxLength value="255"/>
        </xsd:restriction>
      </xsd:simpleType>
    </xsd:element>
    <xsd:element name="MediaServiceLocation" ma:index="37" nillable="true" ma:displayName="Location" ma:internalName="MediaServiceLocation" ma:readOnly="true">
      <xsd:simpleType>
        <xsd:restriction base="dms:Text"/>
      </xsd:simpleType>
    </xsd:element>
    <xsd:element name="MediaLengthInSeconds" ma:index="38" nillable="true" ma:displayName="MediaLengthInSeconds" ma:hidden="true" ma:internalName="MediaLengthInSeconds" ma:readOnly="true">
      <xsd:simpleType>
        <xsd:restriction base="dms:Unknown"/>
      </xsd:simpleType>
    </xsd:element>
    <xsd:element name="lcf76f155ced4ddcb4097134ff3c332f" ma:index="40" nillable="true" ma:taxonomy="true" ma:internalName="lcf76f155ced4ddcb4097134ff3c332f" ma:taxonomyFieldName="MediaServiceImageTags" ma:displayName="Afbeeldingtags" ma:readOnly="false" ma:fieldId="{5cf76f15-5ced-4ddc-b409-7134ff3c332f}" ma:taxonomyMulti="true" ma:sspId="6ff162f9-bf57-4ff8-9921-ebf521560e7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1" nillable="true" ma:displayName="MediaServiceObjectDetectorVersions" ma:hidden="true" ma:indexed="true" ma:internalName="MediaServiceObjectDetectorVersions" ma:readOnly="true">
      <xsd:simpleType>
        <xsd:restriction base="dms:Text"/>
      </xsd:simpleType>
    </xsd:element>
    <xsd:element name="MediaServiceSearchProperties" ma:index="4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Inhou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697F5D-E9E5-484D-93AE-DA8272DF053A}">
  <ds:schemaRefs>
    <ds:schemaRef ds:uri="http://schemas.microsoft.com/office/2006/metadata/properties"/>
    <ds:schemaRef ds:uri="http://schemas.microsoft.com/office/infopath/2007/PartnerControls"/>
    <ds:schemaRef ds:uri="504b00f9-d629-4b11-9f41-a9816b92c626"/>
    <ds:schemaRef ds:uri="7fd6d9cb-daa6-414c-bd08-34a3bfd82cce"/>
  </ds:schemaRefs>
</ds:datastoreItem>
</file>

<file path=customXml/itemProps2.xml><?xml version="1.0" encoding="utf-8"?>
<ds:datastoreItem xmlns:ds="http://schemas.openxmlformats.org/officeDocument/2006/customXml" ds:itemID="{DB201F14-A893-4721-86FC-84155348D9FF}">
  <ds:schemaRefs>
    <ds:schemaRef ds:uri="http://schemas.microsoft.com/sharepoint/v3/contenttype/forms"/>
  </ds:schemaRefs>
</ds:datastoreItem>
</file>

<file path=customXml/itemProps3.xml><?xml version="1.0" encoding="utf-8"?>
<ds:datastoreItem xmlns:ds="http://schemas.openxmlformats.org/officeDocument/2006/customXml" ds:itemID="{AFACC00F-5D3E-47CA-B898-1FBEA37C9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4b00f9-d629-4b11-9f41-a9816b92c626"/>
    <ds:schemaRef ds:uri="7fd6d9cb-daa6-414c-bd08-34a3bfd82c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681dcdd7-3e43-49fb-ac1e-2321f7e63421}" enabled="1" method="Standard" siteId="{1321633e-f6b9-44e2-a44f-59b9d264ecb7}" contentBits="2" removed="0"/>
</clbl:labelList>
</file>

<file path=docProps/app.xml><?xml version="1.0" encoding="utf-8"?>
<Properties xmlns="http://schemas.openxmlformats.org/officeDocument/2006/extended-properties" xmlns:vt="http://schemas.openxmlformats.org/officeDocument/2006/docPropsVTypes">
  <TotalTime>149</TotalTime>
  <Words>1571</Words>
  <Application>Microsoft Office PowerPoint</Application>
  <PresentationFormat>Breedbeeld</PresentationFormat>
  <Paragraphs>114</Paragraphs>
  <Slides>12</Slides>
  <Notes>0</Notes>
  <HiddenSlides>0</HiddenSlides>
  <MMClips>0</MMClips>
  <ScaleCrop>false</ScaleCrop>
  <HeadingPairs>
    <vt:vector size="8" baseType="variant">
      <vt:variant>
        <vt:lpstr>Gebruikte lettertypen</vt:lpstr>
      </vt:variant>
      <vt:variant>
        <vt:i4>8</vt:i4>
      </vt:variant>
      <vt:variant>
        <vt:lpstr>Thema</vt:lpstr>
      </vt:variant>
      <vt:variant>
        <vt:i4>2</vt:i4>
      </vt:variant>
      <vt:variant>
        <vt:lpstr>Ingesloten OLE-bronprogramma's</vt:lpstr>
      </vt:variant>
      <vt:variant>
        <vt:i4>1</vt:i4>
      </vt:variant>
      <vt:variant>
        <vt:lpstr>Diatitels</vt:lpstr>
      </vt:variant>
      <vt:variant>
        <vt:i4>12</vt:i4>
      </vt:variant>
    </vt:vector>
  </HeadingPairs>
  <TitlesOfParts>
    <vt:vector size="23" baseType="lpstr">
      <vt:lpstr>.AppleSystemUIFont</vt:lpstr>
      <vt:lpstr>Aptos</vt:lpstr>
      <vt:lpstr>Arial</vt:lpstr>
      <vt:lpstr>Calibri</vt:lpstr>
      <vt:lpstr>Calibri Light</vt:lpstr>
      <vt:lpstr>Segoe UI</vt:lpstr>
      <vt:lpstr>Verdana</vt:lpstr>
      <vt:lpstr>Wingdings</vt:lpstr>
      <vt:lpstr>Thema5</vt:lpstr>
      <vt:lpstr>Content slides</vt:lpstr>
      <vt:lpstr>think-cell Slide</vt:lpstr>
      <vt:lpstr>  LEADER  Stappenplan bij het indienen van een LEADER-aanvraag in het online portaal van RVO Versie 11 november 2024</vt:lpstr>
      <vt:lpstr>1. Wat te doen alvorens het indienen?</vt:lpstr>
      <vt:lpstr>1. Wat te doen alvorens het indienen? </vt:lpstr>
      <vt:lpstr>2. Beginnen met de aanvraag </vt:lpstr>
      <vt:lpstr>Aanvraagformulier subsidie</vt:lpstr>
      <vt:lpstr>Aanvraagformulier projectinformatie</vt:lpstr>
      <vt:lpstr>Aanvraagformulier projectinformatie</vt:lpstr>
      <vt:lpstr>Aanvraagformulier Projectkosten</vt:lpstr>
      <vt:lpstr>Aanvraagformulier Begroting</vt:lpstr>
      <vt:lpstr>Aanvraagformulier Bijlagen </vt:lpstr>
      <vt:lpstr>Aanvraagformulier  Samenvatting, ondertekening &amp; afronden!</vt:lpstr>
      <vt:lpstr>Aanvraagformulier Einde</vt:lpstr>
    </vt:vector>
  </TitlesOfParts>
  <Company>Ministerie van Economische Zaken en Klimaa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  Stappenplan bij het indienen van een LEADER-aanvraag in het online portaal van RVO Versie 8 oktober 2024</dc:title>
  <dc:creator>Sman, F.J.J.M. van der (Ferry)</dc:creator>
  <cp:lastModifiedBy>Maike van der Maat</cp:lastModifiedBy>
  <cp:revision>8</cp:revision>
  <dcterms:created xsi:type="dcterms:W3CDTF">2024-10-08T09:23:06Z</dcterms:created>
  <dcterms:modified xsi:type="dcterms:W3CDTF">2024-11-11T12:3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Thema5:10\Content slides:6</vt:lpwstr>
  </property>
  <property fmtid="{D5CDD505-2E9C-101B-9397-08002B2CF9AE}" pid="3" name="ClassificationContentMarkingFooterText">
    <vt:lpwstr>Intern gebruik</vt:lpwstr>
  </property>
  <property fmtid="{D5CDD505-2E9C-101B-9397-08002B2CF9AE}" pid="4" name="Classificatie">
    <vt:lpwstr>5;#5.0 - Sport, cultuur en recreatie|14644140-4266-4250-9ee7-ad244f11d9a1</vt:lpwstr>
  </property>
  <property fmtid="{D5CDD505-2E9C-101B-9397-08002B2CF9AE}" pid="5" name="Organisatie">
    <vt:lpwstr>6;#OW-LO|6465ed23-ec05-43e8-98ea-a278b12fe2b6</vt:lpwstr>
  </property>
  <property fmtid="{D5CDD505-2E9C-101B-9397-08002B2CF9AE}" pid="6" name="MediaServiceImageTags">
    <vt:lpwstr/>
  </property>
  <property fmtid="{D5CDD505-2E9C-101B-9397-08002B2CF9AE}" pid="7" name="ContentTypeId">
    <vt:lpwstr>0x010100B48715108274634F9C0A9681FDEF4F8500F296AD7A57E71C4BBB1EAEA0A535AB16</vt:lpwstr>
  </property>
  <property fmtid="{D5CDD505-2E9C-101B-9397-08002B2CF9AE}" pid="8" name="Documenttaal">
    <vt:lpwstr/>
  </property>
  <property fmtid="{D5CDD505-2E9C-101B-9397-08002B2CF9AE}" pid="9" name="Documenttype">
    <vt:lpwstr/>
  </property>
  <property fmtid="{D5CDD505-2E9C-101B-9397-08002B2CF9AE}" pid="10" name="Documentstatus">
    <vt:lpwstr/>
  </property>
  <property fmtid="{D5CDD505-2E9C-101B-9397-08002B2CF9AE}" pid="11" name="Identificatiekenmerk">
    <vt:lpwstr>4;#NL-WeGOW|23638754-1e36-494c-99eb-f24fbb967dd7</vt:lpwstr>
  </property>
  <property fmtid="{D5CDD505-2E9C-101B-9397-08002B2CF9AE}" pid="12" name="Vertrouwelijkheid">
    <vt:lpwstr>7;#Openbaar|e8ed49a1-8f43-4605-afd3-8d856efb75d5</vt:lpwstr>
  </property>
</Properties>
</file>